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1"/>
  </p:notesMasterIdLst>
  <p:handoutMasterIdLst>
    <p:handoutMasterId r:id="rId42"/>
  </p:handoutMasterIdLst>
  <p:sldIdLst>
    <p:sldId id="260" r:id="rId2"/>
    <p:sldId id="305" r:id="rId3"/>
    <p:sldId id="307" r:id="rId4"/>
    <p:sldId id="311" r:id="rId5"/>
    <p:sldId id="319" r:id="rId6"/>
    <p:sldId id="381" r:id="rId7"/>
    <p:sldId id="382" r:id="rId8"/>
    <p:sldId id="383" r:id="rId9"/>
    <p:sldId id="384" r:id="rId10"/>
    <p:sldId id="386" r:id="rId11"/>
    <p:sldId id="385" r:id="rId12"/>
    <p:sldId id="359" r:id="rId13"/>
    <p:sldId id="344" r:id="rId14"/>
    <p:sldId id="387" r:id="rId15"/>
    <p:sldId id="323" r:id="rId16"/>
    <p:sldId id="325" r:id="rId17"/>
    <p:sldId id="370" r:id="rId18"/>
    <p:sldId id="371" r:id="rId19"/>
    <p:sldId id="372" r:id="rId20"/>
    <p:sldId id="347" r:id="rId21"/>
    <p:sldId id="373" r:id="rId22"/>
    <p:sldId id="374" r:id="rId23"/>
    <p:sldId id="379" r:id="rId24"/>
    <p:sldId id="348" r:id="rId25"/>
    <p:sldId id="376" r:id="rId26"/>
    <p:sldId id="375" r:id="rId27"/>
    <p:sldId id="377" r:id="rId28"/>
    <p:sldId id="390" r:id="rId29"/>
    <p:sldId id="396" r:id="rId30"/>
    <p:sldId id="388" r:id="rId31"/>
    <p:sldId id="389" r:id="rId32"/>
    <p:sldId id="391" r:id="rId33"/>
    <p:sldId id="393" r:id="rId34"/>
    <p:sldId id="394" r:id="rId35"/>
    <p:sldId id="395" r:id="rId36"/>
    <p:sldId id="397" r:id="rId37"/>
    <p:sldId id="398" r:id="rId38"/>
    <p:sldId id="399" r:id="rId39"/>
    <p:sldId id="400" r:id="rId40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1D8E"/>
    <a:srgbClr val="FF06FF"/>
    <a:srgbClr val="000000"/>
    <a:srgbClr val="FF0000"/>
    <a:srgbClr val="4348AA"/>
    <a:srgbClr val="33CCFF"/>
    <a:srgbClr val="C6E6E9"/>
    <a:srgbClr val="00B0F0"/>
    <a:srgbClr val="2D2DB9"/>
    <a:srgbClr val="3294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45" autoAdjust="0"/>
    <p:restoredTop sz="98441" autoAdjust="0"/>
  </p:normalViewPr>
  <p:slideViewPr>
    <p:cSldViewPr snapToGrid="0" snapToObjects="1">
      <p:cViewPr varScale="1">
        <p:scale>
          <a:sx n="100" d="100"/>
          <a:sy n="100" d="100"/>
        </p:scale>
        <p:origin x="492" y="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37BAED-97E0-F545-B690-7200EC847ED2}" type="datetime1">
              <a:rPr lang="en-US" smtClean="0"/>
              <a:t>10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713790-A747-354D-8890-04DBEBCD33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8466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DD5694-ADC6-1842-BC09-29688C2D5712}" type="datetime1">
              <a:rPr lang="en-US" smtClean="0"/>
              <a:t>10/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2EBCF6-05C7-EF4F-82B8-5DD000FE05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6783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8322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5059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3446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979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5929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650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9569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80044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8270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9835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8083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1982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9039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49402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0487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5021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08451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61308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7712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36578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9107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0783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69622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76464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44830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58289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67272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74647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47059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18794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194728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00353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7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1492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7977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7542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5348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2816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8509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>
            <a:lvl1pPr>
              <a:defRPr>
                <a:latin typeface="Times"/>
                <a:cs typeface="Time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Times"/>
                <a:cs typeface="Time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2940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70102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0327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0837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14813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441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247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15799" y="4835297"/>
            <a:ext cx="9171038" cy="30820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55239" cy="71171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9860"/>
            <a:ext cx="8229600" cy="5695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861738"/>
            <a:ext cx="8229600" cy="37328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-6055" y="711714"/>
            <a:ext cx="9155239" cy="45719"/>
          </a:xfrm>
          <a:prstGeom prst="rect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-6844" y="4789578"/>
            <a:ext cx="9155239" cy="45719"/>
          </a:xfrm>
          <a:prstGeom prst="rect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ate Placeholder 5"/>
          <p:cNvSpPr>
            <a:spLocks noGrp="1"/>
          </p:cNvSpPr>
          <p:nvPr>
            <p:ph type="dt" sz="half" idx="2"/>
          </p:nvPr>
        </p:nvSpPr>
        <p:spPr>
          <a:xfrm>
            <a:off x="-15075" y="4835297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13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835297"/>
            <a:ext cx="2895600" cy="273844"/>
          </a:xfrm>
          <a:prstGeom prst="rect">
            <a:avLst/>
          </a:prstGeom>
        </p:spPr>
        <p:txBody>
          <a:bodyPr/>
          <a:lstStyle>
            <a:lvl1pPr algn="ctr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014980" y="4835297"/>
            <a:ext cx="2133600" cy="273844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320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sldNum="0" hdr="0"/>
  <p:txStyles>
    <p:titleStyle>
      <a:lvl1pPr algn="ctr" defTabSz="457200" rtl="0" eaLnBrk="1" latinLnBrk="0" hangingPunct="1">
        <a:spcBef>
          <a:spcPct val="0"/>
        </a:spcBef>
        <a:buNone/>
        <a:defRPr sz="3800" kern="1200">
          <a:solidFill>
            <a:schemeClr val="bg1"/>
          </a:solidFill>
          <a:latin typeface="Times"/>
          <a:ea typeface="+mj-ea"/>
          <a:cs typeface="Time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Times"/>
          <a:ea typeface="+mn-ea"/>
          <a:cs typeface="Time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Times"/>
          <a:ea typeface="+mn-ea"/>
          <a:cs typeface="Time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Times"/>
          <a:ea typeface="+mn-ea"/>
          <a:cs typeface="Time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Times"/>
          <a:ea typeface="+mn-ea"/>
          <a:cs typeface="Time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Times"/>
          <a:ea typeface="+mn-ea"/>
          <a:cs typeface="Time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0.pn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2.png"/><Relationship Id="rId5" Type="http://schemas.openxmlformats.org/officeDocument/2006/relationships/image" Target="../media/image230.png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250.png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0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png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0.png"/><Relationship Id="rId4" Type="http://schemas.openxmlformats.org/officeDocument/2006/relationships/image" Target="../media/image36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emf"/><Relationship Id="rId5" Type="http://schemas.openxmlformats.org/officeDocument/2006/relationships/image" Target="../media/image47.png"/><Relationship Id="rId4" Type="http://schemas.openxmlformats.org/officeDocument/2006/relationships/image" Target="../media/image46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emf"/><Relationship Id="rId5" Type="http://schemas.openxmlformats.org/officeDocument/2006/relationships/image" Target="../media/image51.emf"/><Relationship Id="rId4" Type="http://schemas.openxmlformats.org/officeDocument/2006/relationships/image" Target="../media/image50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emf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6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81013" y="1053704"/>
            <a:ext cx="8181974" cy="1102519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Understanding and Controlling the Crud Source Term in PWRs</a:t>
            </a:r>
            <a:endParaRPr lang="en-US" baseline="-25000" dirty="0">
              <a:solidFill>
                <a:schemeClr val="tx1"/>
              </a:solidFill>
            </a:endParaRP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647701" y="2343151"/>
            <a:ext cx="7848599" cy="2578568"/>
          </a:xfrm>
        </p:spPr>
        <p:txBody>
          <a:bodyPr>
            <a:noAutofit/>
          </a:bodyPr>
          <a:lstStyle/>
          <a:p>
            <a:r>
              <a:rPr lang="en-US" sz="1800" dirty="0" err="1" smtClean="0">
                <a:solidFill>
                  <a:schemeClr val="accent5">
                    <a:lumMod val="50000"/>
                  </a:schemeClr>
                </a:solidFill>
              </a:rPr>
              <a:t>Penghui</a:t>
            </a:r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 Cao</a:t>
            </a:r>
            <a:r>
              <a:rPr lang="en-US" sz="1800" baseline="30000" dirty="0" smtClean="0">
                <a:solidFill>
                  <a:schemeClr val="accent5">
                    <a:lumMod val="50000"/>
                  </a:schemeClr>
                </a:solidFill>
              </a:rPr>
              <a:t>1</a:t>
            </a:r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, Daniel Wells</a:t>
            </a:r>
            <a:r>
              <a:rPr lang="en-US" sz="1800" baseline="30000" dirty="0" smtClean="0">
                <a:solidFill>
                  <a:schemeClr val="accent5">
                    <a:lumMod val="50000"/>
                  </a:schemeClr>
                </a:solidFill>
              </a:rPr>
              <a:t>2</a:t>
            </a:r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, Dennis Hussey</a:t>
            </a:r>
            <a:r>
              <a:rPr lang="en-US" sz="1800" baseline="30000" dirty="0" smtClean="0">
                <a:solidFill>
                  <a:schemeClr val="accent5">
                    <a:lumMod val="50000"/>
                  </a:schemeClr>
                </a:solidFill>
              </a:rPr>
              <a:t>2</a:t>
            </a:r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, Michael Short</a:t>
            </a:r>
            <a:r>
              <a:rPr lang="en-US" sz="1800" baseline="30000" dirty="0" smtClean="0">
                <a:solidFill>
                  <a:schemeClr val="accent5">
                    <a:lumMod val="50000"/>
                  </a:schemeClr>
                </a:solidFill>
              </a:rPr>
              <a:t>1</a:t>
            </a:r>
          </a:p>
          <a:p>
            <a:endParaRPr lang="en-US" sz="1800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en-US" sz="1800" i="1" baseline="30000" dirty="0" smtClean="0">
                <a:solidFill>
                  <a:schemeClr val="accent5">
                    <a:lumMod val="50000"/>
                  </a:schemeClr>
                </a:solidFill>
              </a:rPr>
              <a:t>1 </a:t>
            </a:r>
            <a:r>
              <a:rPr lang="en-US" sz="1800" i="1" dirty="0" smtClean="0">
                <a:solidFill>
                  <a:schemeClr val="accent5">
                    <a:lumMod val="50000"/>
                  </a:schemeClr>
                </a:solidFill>
              </a:rPr>
              <a:t>Department of Nuclear Science and Engineering, MIT, USA</a:t>
            </a:r>
          </a:p>
          <a:p>
            <a:r>
              <a:rPr lang="en-US" sz="1800" i="1" baseline="30000" dirty="0" smtClean="0">
                <a:solidFill>
                  <a:schemeClr val="accent5">
                    <a:lumMod val="50000"/>
                  </a:schemeClr>
                </a:solidFill>
              </a:rPr>
              <a:t>2</a:t>
            </a:r>
            <a:r>
              <a:rPr lang="en-US" sz="1800" i="1" dirty="0" smtClean="0">
                <a:solidFill>
                  <a:schemeClr val="accent5">
                    <a:lumMod val="50000"/>
                  </a:schemeClr>
                </a:solidFill>
              </a:rPr>
              <a:t> Electric Power Research Institute (EPRI), Palo Alto, CA &amp; Charlotte, NC, USA</a:t>
            </a:r>
          </a:p>
          <a:p>
            <a:endParaRPr lang="en-US" sz="1800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LWRS Conference, Chicago, IL</a:t>
            </a:r>
          </a:p>
          <a:p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August 2</a:t>
            </a:r>
            <a:r>
              <a:rPr lang="en-US" sz="1800" baseline="30000" dirty="0" smtClean="0">
                <a:solidFill>
                  <a:schemeClr val="accent5">
                    <a:lumMod val="50000"/>
                  </a:schemeClr>
                </a:solidFill>
              </a:rPr>
              <a:t>nd</a:t>
            </a:r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, 2016</a:t>
            </a:r>
            <a:endParaRPr lang="en-US" sz="18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754225" y="79368"/>
            <a:ext cx="328849" cy="283466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5159" y="3826344"/>
            <a:ext cx="1328841" cy="914400"/>
          </a:xfrm>
          <a:prstGeom prst="rect">
            <a:avLst/>
          </a:prstGeom>
        </p:spPr>
      </p:pic>
      <p:pic>
        <p:nvPicPr>
          <p:cNvPr id="7" name="Vacancy_migration_mechanism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6"/>
          <a:srcRect l="31424" t="32255" r="26909" b="60869"/>
          <a:stretch>
            <a:fillRect/>
          </a:stretch>
        </p:blipFill>
        <p:spPr>
          <a:xfrm>
            <a:off x="0" y="0"/>
            <a:ext cx="9144000" cy="1095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574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941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5075" y="59860"/>
            <a:ext cx="9159075" cy="569550"/>
          </a:xfrm>
        </p:spPr>
        <p:txBody>
          <a:bodyPr>
            <a:noAutofit/>
          </a:bodyPr>
          <a:lstStyle/>
          <a:p>
            <a:r>
              <a:rPr lang="en-US" sz="3200" dirty="0" smtClean="0"/>
              <a:t>Assumption: Only the Innermost Oxide is Protective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ultiple studies confirm</a:t>
            </a:r>
            <a:br>
              <a:rPr lang="en-US" dirty="0" smtClean="0"/>
            </a:br>
            <a:r>
              <a:rPr lang="en-US" dirty="0" smtClean="0"/>
              <a:t>only innermost oxide</a:t>
            </a:r>
            <a:br>
              <a:rPr lang="en-US" dirty="0" smtClean="0"/>
            </a:br>
            <a:r>
              <a:rPr lang="en-US" dirty="0" smtClean="0"/>
              <a:t>slows down oxidation</a:t>
            </a:r>
            <a:br>
              <a:rPr lang="en-US" dirty="0" smtClean="0"/>
            </a:br>
            <a:r>
              <a:rPr lang="en-US" dirty="0" smtClean="0"/>
              <a:t>and metal release</a:t>
            </a:r>
          </a:p>
          <a:p>
            <a:r>
              <a:rPr lang="en-US" dirty="0" smtClean="0"/>
              <a:t>Two phases identified:</a:t>
            </a:r>
          </a:p>
          <a:p>
            <a:pPr lvl="1"/>
            <a:r>
              <a:rPr lang="en-US" dirty="0" smtClean="0"/>
              <a:t>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</a:p>
          <a:p>
            <a:pPr lvl="1"/>
            <a:r>
              <a:rPr lang="en-US" dirty="0" smtClean="0"/>
              <a:t>(</a:t>
            </a:r>
            <a:r>
              <a:rPr lang="en-US" dirty="0" err="1" smtClean="0"/>
              <a:t>Ni,Fe</a:t>
            </a:r>
            <a:r>
              <a:rPr lang="en-US" dirty="0" smtClean="0"/>
              <a:t>)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4</a:t>
            </a:r>
            <a:endParaRPr lang="en-US" dirty="0" smtClean="0"/>
          </a:p>
          <a:p>
            <a:r>
              <a:rPr lang="en-US" b="1" dirty="0" smtClean="0"/>
              <a:t>Cr</a:t>
            </a:r>
            <a:r>
              <a:rPr lang="en-US" b="1" baseline="-25000" dirty="0" smtClean="0"/>
              <a:t>2</a:t>
            </a:r>
            <a:r>
              <a:rPr lang="en-US" b="1" dirty="0" smtClean="0"/>
              <a:t>O</a:t>
            </a:r>
            <a:r>
              <a:rPr lang="en-US" b="1" baseline="-25000" dirty="0" smtClean="0"/>
              <a:t>3</a:t>
            </a:r>
            <a:r>
              <a:rPr lang="en-US" b="1" dirty="0" smtClean="0"/>
              <a:t> often observed as</a:t>
            </a:r>
            <a:br>
              <a:rPr lang="en-US" b="1" dirty="0" smtClean="0"/>
            </a:br>
            <a:r>
              <a:rPr lang="en-US" b="1" dirty="0" smtClean="0"/>
              <a:t>“islands” (more to come…)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12786" y="870084"/>
            <a:ext cx="2473764" cy="170973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>
          <a:xfrm>
            <a:off x="3733800" y="2588162"/>
            <a:ext cx="31813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Graphical summary of observations of oxide phases formed on Ni-based alloys in PWR conditions </a:t>
            </a:r>
            <a:endParaRPr lang="en-US" sz="1400" b="1" dirty="0"/>
          </a:p>
        </p:txBody>
      </p:sp>
      <p:pic>
        <p:nvPicPr>
          <p:cNvPr id="8" name="Picture 7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4462" y="1962785"/>
            <a:ext cx="4444812" cy="2278441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/>
          <p:cNvSpPr/>
          <p:nvPr/>
        </p:nvSpPr>
        <p:spPr>
          <a:xfrm>
            <a:off x="4670846" y="4191740"/>
            <a:ext cx="448860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Graphical schematic of oxide layers formed on A600 after tens of thousands of hours of exposure in a PWR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005380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5075" y="59860"/>
            <a:ext cx="9159075" cy="56955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Assumption: Water Ni/Fe Content Doesn’t Mat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OREAL (PWR-like loop) testing shows little effect of Ni/Fe in coolant</a:t>
            </a:r>
          </a:p>
          <a:p>
            <a:pPr lvl="1"/>
            <a:r>
              <a:rPr lang="en-US" dirty="0"/>
              <a:t>F. </a:t>
            </a:r>
            <a:r>
              <a:rPr lang="en-US" dirty="0" err="1"/>
              <a:t>Carrette</a:t>
            </a:r>
            <a:r>
              <a:rPr lang="en-US" dirty="0"/>
              <a:t>. EDF-MAI Report H-B60-2008-01951-EN, p. 13 (2008</a:t>
            </a:r>
            <a:r>
              <a:rPr lang="en-US" dirty="0" smtClean="0"/>
              <a:t>).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Saturation levels around 1-5ppb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344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Key Assumptions: What (NOT) To Mod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 bwMode="auto">
          <a:xfrm>
            <a:off x="4051418" y="1127227"/>
            <a:ext cx="2959835" cy="892605"/>
          </a:xfrm>
          <a:prstGeom prst="rect">
            <a:avLst/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051418" y="3027287"/>
            <a:ext cx="2959835" cy="157438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8" name="Rectangle 7"/>
          <p:cNvSpPr/>
          <p:nvPr/>
        </p:nvSpPr>
        <p:spPr bwMode="auto">
          <a:xfrm flipV="1">
            <a:off x="4051418" y="2840429"/>
            <a:ext cx="2959835" cy="37785"/>
          </a:xfrm>
          <a:prstGeom prst="rect">
            <a:avLst/>
          </a:prstGeom>
          <a:solidFill>
            <a:srgbClr val="2D2DB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051418" y="2388876"/>
            <a:ext cx="2959835" cy="440826"/>
          </a:xfrm>
          <a:prstGeom prst="rect">
            <a:avLst/>
          </a:prstGeom>
          <a:solidFill>
            <a:srgbClr val="32946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4051418" y="2015496"/>
            <a:ext cx="2959835" cy="377851"/>
          </a:xfrm>
          <a:prstGeom prst="rect">
            <a:avLst/>
          </a:prstGeom>
          <a:solidFill>
            <a:srgbClr val="FF6D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1" name="Regular Pentagon 10"/>
          <p:cNvSpPr/>
          <p:nvPr/>
        </p:nvSpPr>
        <p:spPr bwMode="auto">
          <a:xfrm>
            <a:off x="4272332" y="1404427"/>
            <a:ext cx="629752" cy="629752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2" name="Regular Pentagon 11"/>
          <p:cNvSpPr/>
          <p:nvPr/>
        </p:nvSpPr>
        <p:spPr bwMode="auto">
          <a:xfrm>
            <a:off x="5733328" y="1548252"/>
            <a:ext cx="472314" cy="472314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3" name="Regular Pentagon 12"/>
          <p:cNvSpPr/>
          <p:nvPr/>
        </p:nvSpPr>
        <p:spPr bwMode="auto">
          <a:xfrm>
            <a:off x="4876940" y="1712173"/>
            <a:ext cx="314876" cy="314876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4" name="Regular Pentagon 13"/>
          <p:cNvSpPr/>
          <p:nvPr/>
        </p:nvSpPr>
        <p:spPr bwMode="auto">
          <a:xfrm>
            <a:off x="6157431" y="1712173"/>
            <a:ext cx="314876" cy="314876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5" name="Regular Pentagon 14"/>
          <p:cNvSpPr/>
          <p:nvPr/>
        </p:nvSpPr>
        <p:spPr bwMode="auto">
          <a:xfrm>
            <a:off x="4065563" y="1759994"/>
            <a:ext cx="251901" cy="251901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7" name="Regular Pentagon 16"/>
          <p:cNvSpPr/>
          <p:nvPr/>
        </p:nvSpPr>
        <p:spPr bwMode="auto">
          <a:xfrm>
            <a:off x="5439343" y="1781761"/>
            <a:ext cx="251901" cy="251901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8" name="Regular Pentagon 17"/>
          <p:cNvSpPr/>
          <p:nvPr/>
        </p:nvSpPr>
        <p:spPr bwMode="auto">
          <a:xfrm>
            <a:off x="6617130" y="1781761"/>
            <a:ext cx="251901" cy="251901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322678" y="1488405"/>
            <a:ext cx="179479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C00000"/>
                </a:solidFill>
              </a:rPr>
              <a:t>NiFe</a:t>
            </a:r>
            <a:r>
              <a:rPr lang="en-US" sz="1600" b="1" baseline="-25000" dirty="0" smtClean="0">
                <a:solidFill>
                  <a:srgbClr val="C00000"/>
                </a:solidFill>
              </a:rPr>
              <a:t>2</a:t>
            </a:r>
            <a:r>
              <a:rPr lang="en-US" sz="1600" b="1" dirty="0" smtClean="0">
                <a:solidFill>
                  <a:srgbClr val="C00000"/>
                </a:solidFill>
              </a:rPr>
              <a:t>O</a:t>
            </a:r>
            <a:r>
              <a:rPr lang="en-US" sz="1600" b="1" baseline="-25000" dirty="0" smtClean="0">
                <a:solidFill>
                  <a:srgbClr val="C00000"/>
                </a:solidFill>
              </a:rPr>
              <a:t>4</a:t>
            </a:r>
          </a:p>
          <a:p>
            <a:endParaRPr lang="en-US" sz="1600" b="1" dirty="0">
              <a:solidFill>
                <a:schemeClr val="tx1"/>
              </a:solidFill>
            </a:endParaRPr>
          </a:p>
          <a:p>
            <a:r>
              <a:rPr lang="en-US" sz="1600" b="1" dirty="0" smtClean="0">
                <a:solidFill>
                  <a:srgbClr val="FF6D00"/>
                </a:solidFill>
              </a:rPr>
              <a:t>(</a:t>
            </a:r>
            <a:r>
              <a:rPr lang="en-US" sz="1600" b="1" dirty="0" err="1" smtClean="0">
                <a:solidFill>
                  <a:srgbClr val="FF6D00"/>
                </a:solidFill>
              </a:rPr>
              <a:t>Ni,Fe</a:t>
            </a:r>
            <a:r>
              <a:rPr lang="en-US" sz="1600" b="1" dirty="0" smtClean="0">
                <a:solidFill>
                  <a:srgbClr val="FF6D00"/>
                </a:solidFill>
              </a:rPr>
              <a:t>)(</a:t>
            </a:r>
            <a:r>
              <a:rPr lang="en-US" sz="1600" b="1" dirty="0" err="1" smtClean="0">
                <a:solidFill>
                  <a:srgbClr val="FF6D00"/>
                </a:solidFill>
              </a:rPr>
              <a:t>Cr,Fe</a:t>
            </a:r>
            <a:r>
              <a:rPr lang="en-US" sz="1600" b="1" dirty="0" smtClean="0">
                <a:solidFill>
                  <a:srgbClr val="FF6D00"/>
                </a:solidFill>
              </a:rPr>
              <a:t>)</a:t>
            </a:r>
            <a:r>
              <a:rPr lang="en-US" sz="1600" b="1" baseline="-25000" dirty="0" smtClean="0">
                <a:solidFill>
                  <a:srgbClr val="FF6D00"/>
                </a:solidFill>
              </a:rPr>
              <a:t>2</a:t>
            </a:r>
            <a:r>
              <a:rPr lang="en-US" sz="1600" b="1" dirty="0" smtClean="0">
                <a:solidFill>
                  <a:srgbClr val="FF6D00"/>
                </a:solidFill>
              </a:rPr>
              <a:t>O</a:t>
            </a:r>
            <a:r>
              <a:rPr lang="en-US" sz="1600" b="1" baseline="-25000" dirty="0" smtClean="0">
                <a:solidFill>
                  <a:srgbClr val="FF6D00"/>
                </a:solidFill>
              </a:rPr>
              <a:t>4</a:t>
            </a:r>
          </a:p>
          <a:p>
            <a:endParaRPr lang="en-US" sz="1200" b="1" dirty="0">
              <a:solidFill>
                <a:schemeClr val="tx1"/>
              </a:solidFill>
            </a:endParaRPr>
          </a:p>
          <a:p>
            <a:r>
              <a:rPr lang="en-US" sz="1600" b="1" dirty="0" smtClean="0">
                <a:solidFill>
                  <a:srgbClr val="32946A"/>
                </a:solidFill>
              </a:rPr>
              <a:t>(</a:t>
            </a:r>
            <a:r>
              <a:rPr lang="en-US" sz="1600" b="1" dirty="0" err="1" smtClean="0">
                <a:solidFill>
                  <a:srgbClr val="32946A"/>
                </a:solidFill>
              </a:rPr>
              <a:t>Ni,Fe</a:t>
            </a:r>
            <a:r>
              <a:rPr lang="en-US" sz="1600" b="1" dirty="0" smtClean="0">
                <a:solidFill>
                  <a:srgbClr val="32946A"/>
                </a:solidFill>
              </a:rPr>
              <a:t>)Cr</a:t>
            </a:r>
            <a:r>
              <a:rPr lang="en-US" sz="1600" b="1" baseline="-25000" dirty="0" smtClean="0">
                <a:solidFill>
                  <a:srgbClr val="32946A"/>
                </a:solidFill>
              </a:rPr>
              <a:t>2</a:t>
            </a:r>
            <a:r>
              <a:rPr lang="en-US" sz="1600" b="1" dirty="0" smtClean="0">
                <a:solidFill>
                  <a:srgbClr val="32946A"/>
                </a:solidFill>
              </a:rPr>
              <a:t>O</a:t>
            </a:r>
            <a:r>
              <a:rPr lang="en-US" sz="1600" b="1" baseline="-25000" dirty="0" smtClean="0">
                <a:solidFill>
                  <a:srgbClr val="32946A"/>
                </a:solidFill>
              </a:rPr>
              <a:t>4</a:t>
            </a:r>
          </a:p>
          <a:p>
            <a:endParaRPr lang="en-US" sz="400" b="1" dirty="0" smtClean="0">
              <a:solidFill>
                <a:schemeClr val="tx1"/>
              </a:solidFill>
            </a:endParaRPr>
          </a:p>
          <a:p>
            <a:r>
              <a:rPr lang="en-US" sz="1600" b="1" dirty="0" smtClean="0">
                <a:solidFill>
                  <a:srgbClr val="2D2DB9"/>
                </a:solidFill>
              </a:rPr>
              <a:t>Cr</a:t>
            </a:r>
            <a:r>
              <a:rPr lang="en-US" sz="1600" b="1" baseline="-25000" dirty="0" smtClean="0">
                <a:solidFill>
                  <a:srgbClr val="2D2DB9"/>
                </a:solidFill>
              </a:rPr>
              <a:t>2</a:t>
            </a:r>
            <a:r>
              <a:rPr lang="en-US" sz="1600" b="1" dirty="0" smtClean="0">
                <a:solidFill>
                  <a:srgbClr val="2D2DB9"/>
                </a:solidFill>
              </a:rPr>
              <a:t>O</a:t>
            </a:r>
            <a:r>
              <a:rPr lang="en-US" sz="1600" b="1" baseline="-25000" dirty="0" smtClean="0">
                <a:solidFill>
                  <a:srgbClr val="2D2DB9"/>
                </a:solidFill>
              </a:rPr>
              <a:t>3</a:t>
            </a:r>
          </a:p>
          <a:p>
            <a:endParaRPr lang="en-US" sz="1600" b="1" dirty="0">
              <a:solidFill>
                <a:schemeClr val="tx1"/>
              </a:solidFill>
            </a:endParaRPr>
          </a:p>
          <a:p>
            <a:r>
              <a:rPr lang="en-US" sz="1600" b="1" dirty="0" smtClean="0">
                <a:solidFill>
                  <a:schemeClr val="tx1"/>
                </a:solidFill>
              </a:rPr>
              <a:t>Metal with (</a:t>
            </a:r>
            <a:r>
              <a:rPr lang="en-US" sz="1600" b="1" dirty="0" err="1" smtClean="0">
                <a:solidFill>
                  <a:schemeClr val="tx1"/>
                </a:solidFill>
              </a:rPr>
              <a:t>Cr,Ni</a:t>
            </a:r>
            <a:r>
              <a:rPr lang="en-US" sz="1600" b="1" dirty="0" smtClean="0">
                <a:solidFill>
                  <a:schemeClr val="tx1"/>
                </a:solidFill>
              </a:rPr>
              <a:t>) depletion zone</a:t>
            </a:r>
          </a:p>
          <a:p>
            <a:endParaRPr lang="en-US" sz="1600" b="1" dirty="0">
              <a:solidFill>
                <a:schemeClr val="tx1"/>
              </a:solidFill>
            </a:endParaRPr>
          </a:p>
          <a:p>
            <a:r>
              <a:rPr lang="en-US" sz="1600" b="1" dirty="0" smtClean="0">
                <a:solidFill>
                  <a:schemeClr val="tx1"/>
                </a:solidFill>
              </a:rPr>
              <a:t>Base alloy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4051418" y="2881815"/>
            <a:ext cx="2959835" cy="188925"/>
          </a:xfrm>
          <a:prstGeom prst="rect">
            <a:avLst/>
          </a:prstGeom>
          <a:pattFill prst="wdUpDiag">
            <a:fgClr>
              <a:schemeClr val="accent2"/>
            </a:fgClr>
            <a:bgClr>
              <a:srgbClr val="CCEEDF"/>
            </a:bgClr>
          </a:patt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1" name="Right Arrow 20"/>
          <p:cNvSpPr/>
          <p:nvPr/>
        </p:nvSpPr>
        <p:spPr bwMode="auto">
          <a:xfrm flipH="1">
            <a:off x="5009256" y="1092988"/>
            <a:ext cx="1922114" cy="692727"/>
          </a:xfrm>
          <a:prstGeom prst="rightArrow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r>
              <a:rPr kumimoji="0" lang="en-US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rPr>
              <a:t>Flow,</a:t>
            </a:r>
            <a:r>
              <a:rPr kumimoji="0" lang="en-US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rPr>
              <a:t> Erosion</a:t>
            </a:r>
            <a:endParaRPr kumimoji="0" 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2" name="Down Arrow 21"/>
          <p:cNvSpPr/>
          <p:nvPr/>
        </p:nvSpPr>
        <p:spPr bwMode="auto">
          <a:xfrm>
            <a:off x="4212555" y="1862792"/>
            <a:ext cx="700258" cy="1815329"/>
          </a:xfrm>
          <a:prstGeom prst="downArrow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lang="en-US" sz="1400" b="1" dirty="0"/>
          </a:p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r>
              <a:rPr kumimoji="0" lang="en-US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rPr>
              <a:t>O</a:t>
            </a:r>
          </a:p>
        </p:txBody>
      </p:sp>
      <p:sp>
        <p:nvSpPr>
          <p:cNvPr id="23" name="Down Arrow 22"/>
          <p:cNvSpPr/>
          <p:nvPr/>
        </p:nvSpPr>
        <p:spPr bwMode="auto">
          <a:xfrm flipV="1">
            <a:off x="5528322" y="1912712"/>
            <a:ext cx="1099328" cy="1770151"/>
          </a:xfrm>
          <a:prstGeom prst="downArrow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778570" y="2351156"/>
            <a:ext cx="57978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Fe</a:t>
            </a:r>
            <a:endParaRPr lang="en-US" sz="1400" b="1" dirty="0"/>
          </a:p>
          <a:p>
            <a:pPr algn="ctr"/>
            <a:r>
              <a:rPr lang="en-US" sz="1400" b="1" dirty="0"/>
              <a:t>Cr</a:t>
            </a:r>
          </a:p>
          <a:p>
            <a:pPr algn="ctr"/>
            <a:endParaRPr lang="en-US" sz="1400" dirty="0"/>
          </a:p>
        </p:txBody>
      </p:sp>
      <p:sp>
        <p:nvSpPr>
          <p:cNvPr id="25" name="TextBox 24"/>
          <p:cNvSpPr txBox="1"/>
          <p:nvPr/>
        </p:nvSpPr>
        <p:spPr>
          <a:xfrm>
            <a:off x="4467664" y="3830443"/>
            <a:ext cx="18440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2D2DB9"/>
                </a:solidFill>
              </a:rPr>
              <a:t>Diffusion/Transport</a:t>
            </a:r>
            <a:endParaRPr lang="en-US" sz="1400" b="1" dirty="0">
              <a:solidFill>
                <a:srgbClr val="2D2DB9"/>
              </a:solidFill>
            </a:endParaRPr>
          </a:p>
        </p:txBody>
      </p:sp>
      <p:graphicFrame>
        <p:nvGraphicFramePr>
          <p:cNvPr id="26" name="Table 25"/>
          <p:cNvGraphicFramePr>
            <a:graphicFrameLocks noGrp="1"/>
          </p:cNvGraphicFramePr>
          <p:nvPr>
            <p:extLst/>
          </p:nvPr>
        </p:nvGraphicFramePr>
        <p:xfrm>
          <a:off x="1897047" y="1567434"/>
          <a:ext cx="1707873" cy="19087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9291"/>
                <a:gridCol w="569291"/>
                <a:gridCol w="569291"/>
              </a:tblGrid>
              <a:tr h="323834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60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69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304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00000">
                        <a:alpha val="25098"/>
                      </a:srgbClr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D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D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6D00">
                        <a:alpha val="25098"/>
                      </a:srgbClr>
                    </a:solidFill>
                  </a:tcPr>
                </a:tc>
              </a:tr>
              <a:tr h="44568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946A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946A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32946A">
                        <a:alpha val="25098"/>
                      </a:srgbClr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2DB9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2DB9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2D2DB9">
                        <a:alpha val="25098"/>
                      </a:srgbClr>
                    </a:solidFill>
                  </a:tcPr>
                </a:tc>
              </a:tr>
            </a:tbl>
          </a:graphicData>
        </a:graphic>
      </p:graphicFrame>
      <p:pic>
        <p:nvPicPr>
          <p:cNvPr id="27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2303" y="2019832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8" name="Table 27"/>
          <p:cNvGraphicFramePr>
            <a:graphicFrameLocks noGrp="1"/>
          </p:cNvGraphicFramePr>
          <p:nvPr>
            <p:extLst/>
          </p:nvPr>
        </p:nvGraphicFramePr>
        <p:xfrm>
          <a:off x="93097" y="1576978"/>
          <a:ext cx="1707873" cy="19087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9291"/>
                <a:gridCol w="569291"/>
                <a:gridCol w="569291"/>
              </a:tblGrid>
              <a:tr h="323834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60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69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304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00000">
                        <a:alpha val="25098"/>
                      </a:srgbClr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D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D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6D00">
                        <a:alpha val="25098"/>
                      </a:srgbClr>
                    </a:solidFill>
                  </a:tcPr>
                </a:tc>
              </a:tr>
              <a:tr h="44568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946A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946A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32946A">
                        <a:alpha val="25098"/>
                      </a:srgbClr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2DB9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2DB9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2D2DB9">
                        <a:alpha val="25098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295113" y="775803"/>
            <a:ext cx="28106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u="sng" dirty="0" smtClean="0">
                <a:solidFill>
                  <a:schemeClr val="tx1"/>
                </a:solidFill>
              </a:rPr>
              <a:t>Low </a:t>
            </a:r>
            <a:r>
              <a:rPr lang="en-US" sz="1600" b="1" u="sng" dirty="0" err="1" smtClean="0">
                <a:solidFill>
                  <a:schemeClr val="tx1"/>
                </a:solidFill>
              </a:rPr>
              <a:t>Ni,Fe</a:t>
            </a:r>
            <a:r>
              <a:rPr lang="en-US" sz="1600" b="1" dirty="0" smtClean="0">
                <a:solidFill>
                  <a:schemeClr val="tx1"/>
                </a:solidFill>
              </a:rPr>
              <a:t>         </a:t>
            </a:r>
            <a:r>
              <a:rPr lang="en-US" sz="1600" b="1" u="sng" dirty="0" smtClean="0">
                <a:solidFill>
                  <a:schemeClr val="tx1"/>
                </a:solidFill>
              </a:rPr>
              <a:t>High </a:t>
            </a:r>
            <a:r>
              <a:rPr lang="en-US" sz="1600" b="1" u="sng" dirty="0" err="1" smtClean="0">
                <a:solidFill>
                  <a:schemeClr val="tx1"/>
                </a:solidFill>
              </a:rPr>
              <a:t>Ni,Fe</a:t>
            </a:r>
            <a:endParaRPr lang="en-US" sz="1600" b="1" u="sng" dirty="0" smtClean="0">
              <a:solidFill>
                <a:schemeClr val="tx1"/>
              </a:solidFill>
            </a:endParaRPr>
          </a:p>
          <a:p>
            <a:pPr algn="ctr"/>
            <a:r>
              <a:rPr lang="en-US" sz="1600" b="1" u="sng" dirty="0">
                <a:solidFill>
                  <a:schemeClr val="tx1"/>
                </a:solidFill>
              </a:rPr>
              <a:t>i</a:t>
            </a:r>
            <a:r>
              <a:rPr lang="en-US" sz="1600" b="1" u="sng" dirty="0" smtClean="0">
                <a:solidFill>
                  <a:schemeClr val="tx1"/>
                </a:solidFill>
              </a:rPr>
              <a:t>n coolant</a:t>
            </a:r>
            <a:r>
              <a:rPr lang="en-US" sz="1600" b="1" dirty="0" smtClean="0">
                <a:solidFill>
                  <a:schemeClr val="tx1"/>
                </a:solidFill>
              </a:rPr>
              <a:t>          </a:t>
            </a:r>
            <a:r>
              <a:rPr lang="en-US" sz="1600" b="1" u="sng" dirty="0" smtClean="0">
                <a:solidFill>
                  <a:schemeClr val="tx1"/>
                </a:solidFill>
              </a:rPr>
              <a:t>in coolant</a:t>
            </a:r>
            <a:endParaRPr lang="en-US" sz="1600" b="1" u="sng" dirty="0">
              <a:solidFill>
                <a:schemeClr val="tx1"/>
              </a:solidFill>
            </a:endParaRPr>
          </a:p>
        </p:txBody>
      </p:sp>
      <p:pic>
        <p:nvPicPr>
          <p:cNvPr id="30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2303" y="239805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2303" y="2801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1603" y="2801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1603" y="3182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59043" y="3182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5483" y="3182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59043" y="2019832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59043" y="2801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3232" y="2002417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3232" y="2784503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3975" y="4312691"/>
            <a:ext cx="302281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tx1"/>
                </a:solidFill>
              </a:rPr>
              <a:t>[1] T. Devine, ibid</a:t>
            </a:r>
          </a:p>
          <a:p>
            <a:r>
              <a:rPr lang="en-US" sz="1100" b="1" dirty="0" smtClean="0">
                <a:solidFill>
                  <a:schemeClr val="tx1"/>
                </a:solidFill>
              </a:rPr>
              <a:t>[2] S </a:t>
            </a:r>
            <a:r>
              <a:rPr lang="en-US" sz="1100" b="1" dirty="0" err="1" smtClean="0">
                <a:solidFill>
                  <a:schemeClr val="tx1"/>
                </a:solidFill>
              </a:rPr>
              <a:t>Cisse</a:t>
            </a:r>
            <a:r>
              <a:rPr lang="en-US" sz="1100" b="1" dirty="0" smtClean="0">
                <a:solidFill>
                  <a:schemeClr val="tx1"/>
                </a:solidFill>
              </a:rPr>
              <a:t> et al. </a:t>
            </a:r>
            <a:r>
              <a:rPr lang="en-US" sz="1100" b="1" i="1" dirty="0" smtClean="0">
                <a:solidFill>
                  <a:schemeClr val="tx1"/>
                </a:solidFill>
              </a:rPr>
              <a:t>Corr. Sci.</a:t>
            </a:r>
            <a:r>
              <a:rPr lang="en-US" sz="1100" b="1" dirty="0" smtClean="0">
                <a:solidFill>
                  <a:schemeClr val="tx1"/>
                </a:solidFill>
              </a:rPr>
              <a:t>, 56:209-216 (2012).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30411" y="3476163"/>
            <a:ext cx="36224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 [1]     [1]                  [1]      [1]      [2]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Multiply 2"/>
          <p:cNvSpPr/>
          <p:nvPr/>
        </p:nvSpPr>
        <p:spPr>
          <a:xfrm>
            <a:off x="1900761" y="1847458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Multiply 42"/>
          <p:cNvSpPr/>
          <p:nvPr/>
        </p:nvSpPr>
        <p:spPr>
          <a:xfrm>
            <a:off x="2456121" y="1842408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Multiply 43"/>
          <p:cNvSpPr/>
          <p:nvPr/>
        </p:nvSpPr>
        <p:spPr>
          <a:xfrm>
            <a:off x="3036557" y="1847458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5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9936" y="240256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Multiply 46"/>
          <p:cNvSpPr/>
          <p:nvPr/>
        </p:nvSpPr>
        <p:spPr>
          <a:xfrm>
            <a:off x="-80361" y="1719303"/>
            <a:ext cx="2060333" cy="1845482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/>
          <p:cNvSpPr/>
          <p:nvPr/>
        </p:nvSpPr>
        <p:spPr>
          <a:xfrm>
            <a:off x="1800970" y="2207197"/>
            <a:ext cx="1951880" cy="1357588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" name="Straight Arrow Connector 49"/>
          <p:cNvCxnSpPr/>
          <p:nvPr/>
        </p:nvCxnSpPr>
        <p:spPr>
          <a:xfrm flipH="1" flipV="1">
            <a:off x="2924070" y="3564785"/>
            <a:ext cx="102715" cy="57343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1477108" y="4138220"/>
            <a:ext cx="24919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Missing diffusivity data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49" name="Multiply 48"/>
          <p:cNvSpPr/>
          <p:nvPr/>
        </p:nvSpPr>
        <p:spPr>
          <a:xfrm>
            <a:off x="1900761" y="2220530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Multiply 51"/>
          <p:cNvSpPr/>
          <p:nvPr/>
        </p:nvSpPr>
        <p:spPr>
          <a:xfrm>
            <a:off x="2452368" y="2620180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Multiply 52"/>
          <p:cNvSpPr/>
          <p:nvPr/>
        </p:nvSpPr>
        <p:spPr>
          <a:xfrm>
            <a:off x="3034681" y="2229263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041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3" grpId="0" animBg="1"/>
      <p:bldP spid="44" grpId="0" animBg="1"/>
      <p:bldP spid="47" grpId="0" animBg="1"/>
      <p:bldP spid="48" grpId="0" animBg="1"/>
      <p:bldP spid="51" grpId="0"/>
      <p:bldP spid="49" grpId="0" animBg="1"/>
      <p:bldP spid="52" grpId="0" animBg="1"/>
      <p:bldP spid="5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omputing Unknown Diffusiviti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-15075" y="4835297"/>
            <a:ext cx="2133600" cy="273844"/>
          </a:xfrm>
        </p:spPr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35297"/>
            <a:ext cx="2895600" cy="273844"/>
          </a:xfrm>
        </p:spPr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1282" y="3046648"/>
            <a:ext cx="701675" cy="646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32570" y="3020865"/>
            <a:ext cx="687917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2957" y="2024062"/>
            <a:ext cx="2990851" cy="268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8"/>
          <p:cNvSpPr/>
          <p:nvPr/>
        </p:nvSpPr>
        <p:spPr bwMode="auto">
          <a:xfrm>
            <a:off x="2133600" y="3327544"/>
            <a:ext cx="304800" cy="315768"/>
          </a:xfrm>
          <a:prstGeom prst="ellipse">
            <a:avLst/>
          </a:prstGeom>
          <a:solidFill>
            <a:schemeClr val="bg1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0600" y="1984082"/>
            <a:ext cx="2962275" cy="277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Oval 10"/>
          <p:cNvSpPr/>
          <p:nvPr/>
        </p:nvSpPr>
        <p:spPr bwMode="auto">
          <a:xfrm>
            <a:off x="6096000" y="3369969"/>
            <a:ext cx="308256" cy="273343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2" name="Picture 1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81549" y="2024062"/>
            <a:ext cx="3000375" cy="276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Oval 12"/>
          <p:cNvSpPr/>
          <p:nvPr/>
        </p:nvSpPr>
        <p:spPr bwMode="auto">
          <a:xfrm>
            <a:off x="6331105" y="3131844"/>
            <a:ext cx="308256" cy="273343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cxnSp>
        <p:nvCxnSpPr>
          <p:cNvPr id="14" name="Straight Arrow Connector 13"/>
          <p:cNvCxnSpPr/>
          <p:nvPr/>
        </p:nvCxnSpPr>
        <p:spPr bwMode="auto">
          <a:xfrm flipV="1">
            <a:off x="6400800" y="3338512"/>
            <a:ext cx="304800" cy="327076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08329" y="809625"/>
            <a:ext cx="6292671" cy="1078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6331105" y="809625"/>
            <a:ext cx="1431770" cy="419100"/>
          </a:xfrm>
          <a:prstGeom prst="rect">
            <a:avLst/>
          </a:prstGeom>
          <a:solidFill>
            <a:srgbClr val="000000">
              <a:alpha val="10196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2590800" y="809625"/>
            <a:ext cx="3502180" cy="971550"/>
          </a:xfrm>
          <a:prstGeom prst="rect">
            <a:avLst/>
          </a:prstGeom>
          <a:solidFill>
            <a:srgbClr val="000000">
              <a:alpha val="10196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3966203" y="1669002"/>
            <a:ext cx="7542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70C0"/>
                </a:solidFill>
              </a:rPr>
              <a:t>D</a:t>
            </a:r>
            <a:r>
              <a:rPr lang="en-US" sz="2800" b="1" baseline="-25000" dirty="0" smtClean="0">
                <a:solidFill>
                  <a:srgbClr val="0070C0"/>
                </a:solidFill>
              </a:rPr>
              <a:t>0</a:t>
            </a:r>
            <a:endParaRPr lang="en-US" sz="2800" b="1" baseline="-25000" dirty="0">
              <a:solidFill>
                <a:srgbClr val="0070C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781924" y="764011"/>
            <a:ext cx="15438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70C0"/>
                </a:solidFill>
              </a:rPr>
              <a:t>E</a:t>
            </a:r>
            <a:r>
              <a:rPr lang="en-US" sz="2800" b="1" baseline="-25000" dirty="0" smtClean="0">
                <a:solidFill>
                  <a:srgbClr val="0070C0"/>
                </a:solidFill>
              </a:rPr>
              <a:t>A</a:t>
            </a:r>
            <a:r>
              <a:rPr lang="en-US" sz="2800" b="1" dirty="0" smtClean="0">
                <a:solidFill>
                  <a:srgbClr val="0070C0"/>
                </a:solidFill>
              </a:rPr>
              <a:t> or Q</a:t>
            </a:r>
            <a:endParaRPr lang="en-US" sz="2800" b="1" baseline="-250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0329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teps in Our Calcul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 smtClean="0"/>
              <a:t>Choose potentials and parameter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Create unit cell with high defect density (speeds calculations)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Compute mean squared displacement (MSD) to get diffusion rate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Use nudged elastic band (NEB) method to find activation barriers (</a:t>
            </a:r>
            <a:r>
              <a:rPr lang="el-GR" dirty="0" smtClean="0"/>
              <a:t>Δ</a:t>
            </a:r>
            <a:r>
              <a:rPr lang="en-US" dirty="0" err="1" smtClean="0"/>
              <a:t>H</a:t>
            </a:r>
            <a:r>
              <a:rPr lang="en-US" baseline="-25000" dirty="0" err="1" smtClean="0"/>
              <a:t>m</a:t>
            </a:r>
            <a:r>
              <a:rPr lang="en-US" dirty="0" smtClean="0"/>
              <a:t>)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Fit to experimental data </a:t>
            </a:r>
            <a:r>
              <a:rPr lang="en-US" b="1" i="1" dirty="0" smtClean="0"/>
              <a:t>(if available)</a:t>
            </a:r>
            <a:r>
              <a:rPr lang="en-US" dirty="0" smtClean="0"/>
              <a:t> to back out </a:t>
            </a:r>
            <a:r>
              <a:rPr lang="el-GR" dirty="0"/>
              <a:t>Δ</a:t>
            </a:r>
            <a:r>
              <a:rPr lang="en-US" dirty="0" err="1" smtClean="0"/>
              <a:t>H</a:t>
            </a:r>
            <a:r>
              <a:rPr lang="en-US" baseline="-25000" dirty="0" err="1" smtClean="0"/>
              <a:t>f</a:t>
            </a:r>
            <a:r>
              <a:rPr lang="en-US" dirty="0"/>
              <a:t> </a:t>
            </a:r>
            <a:r>
              <a:rPr lang="en-US" dirty="0" smtClean="0"/>
              <a:t>at real temperatures &amp; defect concentration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536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omputing Unknown Diffusivities: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endParaRPr lang="en-US" baseline="-25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129" y="827321"/>
            <a:ext cx="2839126" cy="3778513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1981200" y="981075"/>
            <a:ext cx="2106948" cy="2725057"/>
            <a:chOff x="1003025" y="1065729"/>
            <a:chExt cx="3816339" cy="4935928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3025" y="1065729"/>
              <a:ext cx="3816339" cy="4935928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2061186" y="3473760"/>
              <a:ext cx="143692" cy="16981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1896086" y="3023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/>
            <p:cNvSpPr/>
            <p:nvPr/>
          </p:nvSpPr>
          <p:spPr>
            <a:xfrm>
              <a:off x="2365986" y="3023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B050"/>
                </a:solidFill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2340586" y="38995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/>
            <p:cNvSpPr/>
            <p:nvPr/>
          </p:nvSpPr>
          <p:spPr>
            <a:xfrm>
              <a:off x="1578586" y="34677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/>
            <p:cNvSpPr/>
            <p:nvPr/>
          </p:nvSpPr>
          <p:spPr>
            <a:xfrm>
              <a:off x="1883386" y="3912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/>
            <p:cNvSpPr/>
            <p:nvPr/>
          </p:nvSpPr>
          <p:spPr>
            <a:xfrm>
              <a:off x="2645386" y="34804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B050"/>
                </a:solidFill>
              </a:endParaRPr>
            </a:p>
          </p:txBody>
        </p:sp>
      </p:grpSp>
      <p:sp>
        <p:nvSpPr>
          <p:cNvPr id="18" name="Rectangle 17"/>
          <p:cNvSpPr/>
          <p:nvPr/>
        </p:nvSpPr>
        <p:spPr>
          <a:xfrm>
            <a:off x="5029200" y="4226464"/>
            <a:ext cx="40195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1"/>
                </a:solidFill>
              </a:rPr>
              <a:t>[1] R</a:t>
            </a:r>
            <a:r>
              <a:rPr lang="en-US" sz="1200" b="1" dirty="0">
                <a:solidFill>
                  <a:schemeClr val="tx1"/>
                </a:solidFill>
              </a:rPr>
              <a:t>. </a:t>
            </a:r>
            <a:r>
              <a:rPr lang="en-US" sz="1200" b="1" dirty="0" smtClean="0">
                <a:solidFill>
                  <a:schemeClr val="tx1"/>
                </a:solidFill>
              </a:rPr>
              <a:t>Grimes. Phil. Mag. A, 72(3):651-668 (1995).</a:t>
            </a:r>
            <a:endParaRPr lang="en-US" sz="1200" b="1" dirty="0">
              <a:solidFill>
                <a:schemeClr val="tx1"/>
              </a:solidFill>
            </a:endParaRPr>
          </a:p>
          <a:p>
            <a:r>
              <a:rPr lang="en-US" sz="1200" b="1" dirty="0" smtClean="0">
                <a:solidFill>
                  <a:schemeClr val="tx1"/>
                </a:solidFill>
              </a:rPr>
              <a:t>[2] </a:t>
            </a:r>
            <a:r>
              <a:rPr lang="en-US" sz="1200" b="1" dirty="0" err="1" smtClean="0">
                <a:solidFill>
                  <a:schemeClr val="tx1"/>
                </a:solidFill>
              </a:rPr>
              <a:t>Minervini</a:t>
            </a:r>
            <a:r>
              <a:rPr lang="en-US" sz="1200" b="1" dirty="0" smtClean="0">
                <a:solidFill>
                  <a:schemeClr val="tx1"/>
                </a:solidFill>
              </a:rPr>
              <a:t> et al., </a:t>
            </a:r>
            <a:r>
              <a:rPr lang="en-US" sz="1200" b="1" dirty="0">
                <a:solidFill>
                  <a:schemeClr val="tx1"/>
                </a:solidFill>
              </a:rPr>
              <a:t>J. Mater. Chem., </a:t>
            </a:r>
            <a:r>
              <a:rPr lang="en-US" sz="1200" b="1" dirty="0" smtClean="0">
                <a:solidFill>
                  <a:schemeClr val="tx1"/>
                </a:solidFill>
              </a:rPr>
              <a:t>10:2349-2354 (2000).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419600" y="981075"/>
            <a:ext cx="4495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u="sng" dirty="0" smtClean="0">
                <a:solidFill>
                  <a:schemeClr val="tx1"/>
                </a:solidFill>
              </a:rPr>
              <a:t>Buckingham potential:</a:t>
            </a:r>
            <a:r>
              <a:rPr lang="en-US" sz="1800" b="1" dirty="0" smtClean="0">
                <a:solidFill>
                  <a:schemeClr val="tx1"/>
                </a:solidFill>
              </a:rPr>
              <a:t> Compensates charge loss due to ionic defects [1-2]</a:t>
            </a:r>
          </a:p>
          <a:p>
            <a:pPr algn="ctr"/>
            <a:endParaRPr lang="en-US" sz="1800" b="1" dirty="0">
              <a:solidFill>
                <a:schemeClr val="tx1"/>
              </a:solidFill>
            </a:endParaRPr>
          </a:p>
          <a:p>
            <a:pPr algn="ctr"/>
            <a:endParaRPr lang="en-US" sz="1800" b="1" dirty="0" smtClean="0">
              <a:solidFill>
                <a:schemeClr val="tx1"/>
              </a:solidFill>
            </a:endParaRPr>
          </a:p>
          <a:p>
            <a:pPr algn="ctr"/>
            <a:endParaRPr lang="en-US" sz="1800" b="1" dirty="0">
              <a:solidFill>
                <a:schemeClr val="tx1"/>
              </a:solidFill>
            </a:endParaRPr>
          </a:p>
          <a:p>
            <a:pPr algn="ctr"/>
            <a:endParaRPr lang="en-US" sz="1800" b="1" dirty="0" smtClean="0">
              <a:solidFill>
                <a:schemeClr val="tx1"/>
              </a:solidFill>
            </a:endParaRPr>
          </a:p>
          <a:p>
            <a:pPr algn="ctr"/>
            <a:r>
              <a:rPr lang="en-US" sz="1800" b="1" u="sng" dirty="0" smtClean="0">
                <a:solidFill>
                  <a:schemeClr val="tx1"/>
                </a:solidFill>
              </a:rPr>
              <a:t>Model:</a:t>
            </a:r>
            <a:r>
              <a:rPr lang="en-US" sz="1800" b="1" dirty="0" smtClean="0">
                <a:solidFill>
                  <a:schemeClr val="tx1"/>
                </a:solidFill>
              </a:rPr>
              <a:t> 18x18x6 </a:t>
            </a:r>
            <a:r>
              <a:rPr lang="en-US" sz="1800" b="1" dirty="0">
                <a:solidFill>
                  <a:schemeClr val="tx1"/>
                </a:solidFill>
              </a:rPr>
              <a:t>hexagonal unit cell with periodic boundary </a:t>
            </a:r>
            <a:r>
              <a:rPr lang="en-US" sz="1800" b="1" dirty="0" smtClean="0">
                <a:solidFill>
                  <a:schemeClr val="tx1"/>
                </a:solidFill>
              </a:rPr>
              <a:t>conditions, 58,320 atoms</a:t>
            </a:r>
            <a:endParaRPr lang="en-US" sz="1800" b="1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/>
              <p:cNvSpPr/>
              <p:nvPr/>
            </p:nvSpPr>
            <p:spPr>
              <a:xfrm>
                <a:off x="4820326" y="1748219"/>
                <a:ext cx="3649011" cy="6988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𝑗</m:t>
                          </m:r>
                        </m:sub>
                      </m:sSub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</m:d>
                      <m:r>
                        <a:rPr lang="en-US" i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𝑗</m:t>
                          </m:r>
                        </m:sub>
                      </m:sSub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f>
                            <m:fPr>
                              <m:type m:val="skw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num>
                            <m:den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𝜌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𝑖𝑗</m:t>
                                  </m:r>
                                </m:sub>
                              </m:sSub>
                            </m:den>
                          </m:f>
                        </m:sup>
                      </m:sSup>
                      <m:r>
                        <a:rPr lang="en-US" i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𝑖𝑗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𝑖𝑗</m:t>
                              </m:r>
                            </m:sub>
                          </m:sSub>
                        </m:den>
                      </m:f>
                      <m:r>
                        <a:rPr lang="en-US" i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</m:num>
                        <m:den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𝜋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𝜖</m:t>
                              </m:r>
                            </m:e>
                            <m:sub>
                              <m:r>
                                <a:rPr lang="en-US" i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𝑖𝑗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" name="Rectangle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20326" y="1748219"/>
                <a:ext cx="3649011" cy="698846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91348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5075" y="59860"/>
            <a:ext cx="9159075" cy="56955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omputing Unknown Diffusivities: O in </a:t>
            </a:r>
            <a:r>
              <a:rPr lang="en-US" dirty="0"/>
              <a:t>Cr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104775" y="857250"/>
            <a:ext cx="2990687" cy="3868057"/>
            <a:chOff x="1003025" y="1065729"/>
            <a:chExt cx="3816339" cy="4935928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3025" y="1065729"/>
              <a:ext cx="3816339" cy="4935928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2061186" y="3473760"/>
              <a:ext cx="143692" cy="16981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/>
            <p:cNvSpPr/>
            <p:nvPr/>
          </p:nvSpPr>
          <p:spPr>
            <a:xfrm>
              <a:off x="1896086" y="3023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2365986" y="3023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B050"/>
                </a:solidFill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2340586" y="38995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/>
            <p:cNvSpPr/>
            <p:nvPr/>
          </p:nvSpPr>
          <p:spPr>
            <a:xfrm>
              <a:off x="1578586" y="34677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/>
            <p:cNvSpPr/>
            <p:nvPr/>
          </p:nvSpPr>
          <p:spPr>
            <a:xfrm>
              <a:off x="1883386" y="3912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/>
            <p:cNvSpPr/>
            <p:nvPr/>
          </p:nvSpPr>
          <p:spPr>
            <a:xfrm>
              <a:off x="2645386" y="34804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B050"/>
                </a:solidFill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162450" y="857273"/>
            <a:ext cx="2990687" cy="3868057"/>
            <a:chOff x="1003025" y="1065729"/>
            <a:chExt cx="3816339" cy="4935928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3025" y="1065729"/>
              <a:ext cx="3816339" cy="4935928"/>
            </a:xfrm>
            <a:prstGeom prst="rect">
              <a:avLst/>
            </a:prstGeom>
          </p:spPr>
        </p:pic>
        <p:sp>
          <p:nvSpPr>
            <p:cNvPr id="17" name="Rectangle 16"/>
            <p:cNvSpPr/>
            <p:nvPr/>
          </p:nvSpPr>
          <p:spPr>
            <a:xfrm>
              <a:off x="2061186" y="3473760"/>
              <a:ext cx="143692" cy="16981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/>
            <p:cNvSpPr/>
            <p:nvPr/>
          </p:nvSpPr>
          <p:spPr>
            <a:xfrm>
              <a:off x="2086586" y="31883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/>
            <p:cNvSpPr/>
            <p:nvPr/>
          </p:nvSpPr>
          <p:spPr>
            <a:xfrm>
              <a:off x="2365986" y="36328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/>
            <p:cNvSpPr/>
            <p:nvPr/>
          </p:nvSpPr>
          <p:spPr>
            <a:xfrm>
              <a:off x="1832586" y="36074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B050"/>
                </a:solidFill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2619986" y="31629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5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ight Arrow 21"/>
          <p:cNvSpPr/>
          <p:nvPr/>
        </p:nvSpPr>
        <p:spPr bwMode="auto">
          <a:xfrm rot="14018392">
            <a:off x="897925" y="2914568"/>
            <a:ext cx="399616" cy="112424"/>
          </a:xfrm>
          <a:prstGeom prst="rightArrow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3" name="Right Arrow 22"/>
          <p:cNvSpPr/>
          <p:nvPr/>
        </p:nvSpPr>
        <p:spPr bwMode="auto">
          <a:xfrm rot="7571820">
            <a:off x="903907" y="2569221"/>
            <a:ext cx="399616" cy="112424"/>
          </a:xfrm>
          <a:prstGeom prst="rightArrow">
            <a:avLst/>
          </a:prstGeom>
          <a:solidFill>
            <a:srgbClr val="00B0F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-505036" y="4318432"/>
            <a:ext cx="29906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n-plane diffus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373496" y="4355045"/>
            <a:ext cx="29906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Out-of-plan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" name="Right Arrow 25"/>
          <p:cNvSpPr/>
          <p:nvPr/>
        </p:nvSpPr>
        <p:spPr bwMode="auto">
          <a:xfrm rot="12995585">
            <a:off x="4066741" y="2806877"/>
            <a:ext cx="238237" cy="112424"/>
          </a:xfrm>
          <a:prstGeom prst="rightArrow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7" name="Right Arrow 26"/>
          <p:cNvSpPr/>
          <p:nvPr/>
        </p:nvSpPr>
        <p:spPr bwMode="auto">
          <a:xfrm rot="19804558">
            <a:off x="3884700" y="2806729"/>
            <a:ext cx="226742" cy="112424"/>
          </a:xfrm>
          <a:prstGeom prst="rightArrow">
            <a:avLst/>
          </a:prstGeom>
          <a:solidFill>
            <a:srgbClr val="00B0F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8" name="Right Arrow 27"/>
          <p:cNvSpPr/>
          <p:nvPr/>
        </p:nvSpPr>
        <p:spPr bwMode="auto">
          <a:xfrm rot="8948638">
            <a:off x="4055092" y="2617964"/>
            <a:ext cx="465580" cy="112424"/>
          </a:xfrm>
          <a:prstGeom prst="rightArrow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152488" y="857250"/>
            <a:ext cx="121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00B0F0"/>
                </a:solidFill>
              </a:rPr>
              <a:t>Path 1</a:t>
            </a:r>
          </a:p>
          <a:p>
            <a:r>
              <a:rPr lang="en-US" sz="2000" b="1" dirty="0" smtClean="0">
                <a:solidFill>
                  <a:srgbClr val="FFFF00"/>
                </a:solidFill>
              </a:rPr>
              <a:t>Path 2</a:t>
            </a:r>
            <a:endParaRPr lang="en-US" sz="2000" b="1" dirty="0">
              <a:solidFill>
                <a:srgbClr val="FFFF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289437" y="820293"/>
            <a:ext cx="12192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00B0F0"/>
                </a:solidFill>
              </a:rPr>
              <a:t>Path 3</a:t>
            </a:r>
          </a:p>
          <a:p>
            <a:r>
              <a:rPr lang="en-US" sz="2000" b="1" dirty="0" smtClean="0">
                <a:solidFill>
                  <a:srgbClr val="FFFF00"/>
                </a:solidFill>
              </a:rPr>
              <a:t>Path 4</a:t>
            </a:r>
          </a:p>
          <a:p>
            <a:r>
              <a:rPr lang="en-US" sz="2000" b="1" dirty="0" smtClean="0">
                <a:solidFill>
                  <a:srgbClr val="00B050"/>
                </a:solidFill>
              </a:rPr>
              <a:t>Path 5</a:t>
            </a:r>
            <a:endParaRPr lang="en-US" sz="2000" b="1" dirty="0">
              <a:solidFill>
                <a:srgbClr val="00B050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45" t="4469" r="7265"/>
          <a:stretch/>
        </p:blipFill>
        <p:spPr>
          <a:xfrm>
            <a:off x="6099049" y="857250"/>
            <a:ext cx="3042631" cy="274800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1" name="Table 30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217298925"/>
                  </p:ext>
                </p:extLst>
              </p:nvPr>
            </p:nvGraphicFramePr>
            <p:xfrm>
              <a:off x="5602929" y="1790287"/>
              <a:ext cx="3443591" cy="2919422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515175"/>
                    <a:gridCol w="842441"/>
                    <a:gridCol w="742950"/>
                    <a:gridCol w="704850"/>
                    <a:gridCol w="638175"/>
                  </a:tblGrid>
                  <a:tr h="92790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dirty="0" smtClean="0"/>
                            <a:t>Path</a:t>
                          </a:r>
                          <a:endParaRPr lang="en-US" sz="1200" dirty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dirty="0" smtClean="0"/>
                            <a:t>Migration barrier</a:t>
                          </a:r>
                          <a:r>
                            <a:rPr lang="en-US" sz="1200" baseline="0" dirty="0" smtClean="0"/>
                            <a:t> (eV)</a:t>
                          </a:r>
                          <a:endParaRPr lang="en-US" sz="1200" dirty="0" smtClean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dirty="0" smtClean="0"/>
                            <a:t>Jump distance </a:t>
                          </a:r>
                          <a:r>
                            <a:rPr lang="en-US" sz="1200" baseline="0" dirty="0" smtClean="0"/>
                            <a:t>(Å)</a:t>
                          </a:r>
                          <a:endParaRPr lang="en-US" sz="1200" dirty="0" smtClean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20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 smtClean="0">
                                        <a:latin typeface="Cambria Math" panose="02040503050406030204" pitchFamily="18" charset="0"/>
                                      </a:rPr>
                                      <m:t>𝒅</m:t>
                                    </m:r>
                                  </m:e>
                                  <m:sub>
                                    <m:r>
                                      <a:rPr lang="en-US" sz="1200" smtClean="0">
                                        <a:latin typeface="Cambria Math" panose="02040503050406030204" pitchFamily="18" charset="0"/>
                                      </a:rPr>
                                      <m:t>𝒂𝒃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200" dirty="0" smtClean="0"/>
                        </a:p>
                        <a:p>
                          <a:pPr algn="ctr"/>
                          <a:r>
                            <a:rPr lang="en-US" sz="1200" dirty="0" smtClean="0"/>
                            <a:t>(in-plane)</a:t>
                          </a:r>
                          <a:endParaRPr lang="en-US" sz="1200" dirty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sz="12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200" smtClean="0">
                                      <a:latin typeface="Cambria Math" panose="02040503050406030204" pitchFamily="18" charset="0"/>
                                    </a:rPr>
                                    <m:t>𝒅</m:t>
                                  </m:r>
                                </m:e>
                                <m:sub>
                                  <m:r>
                                    <a:rPr lang="en-US" sz="1200" smtClean="0">
                                      <a:latin typeface="Cambria Math" panose="02040503050406030204" pitchFamily="18" charset="0"/>
                                    </a:rPr>
                                    <m:t>𝒄</m:t>
                                  </m:r>
                                </m:sub>
                              </m:sSub>
                            </m:oMath>
                          </a14:m>
                          <a:r>
                            <a:rPr lang="en-US" sz="1200" dirty="0" smtClean="0"/>
                            <a:t> (out of plane)</a:t>
                          </a:r>
                          <a:endParaRPr lang="en-US" sz="1200" dirty="0"/>
                        </a:p>
                      </a:txBody>
                      <a:tcPr anchor="b"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0.425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6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6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0</a:t>
                          </a:r>
                          <a:endParaRPr lang="en-US" sz="1800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38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99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99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0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b="1" dirty="0" smtClean="0"/>
                            <a:t>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.38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74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.5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27</a:t>
                          </a:r>
                          <a:endParaRPr lang="en-US" sz="1800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1.63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85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1.72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27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5.532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4.13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3.45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27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31" name="Table 30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217298925"/>
                  </p:ext>
                </p:extLst>
              </p:nvPr>
            </p:nvGraphicFramePr>
            <p:xfrm>
              <a:off x="5602929" y="1790287"/>
              <a:ext cx="3443591" cy="2919422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515175"/>
                    <a:gridCol w="842441"/>
                    <a:gridCol w="742950"/>
                    <a:gridCol w="704850"/>
                    <a:gridCol w="638175"/>
                  </a:tblGrid>
                  <a:tr h="92790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dirty="0" smtClean="0"/>
                            <a:t>Path</a:t>
                          </a:r>
                          <a:endParaRPr lang="en-US" sz="1200" dirty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dirty="0" smtClean="0"/>
                            <a:t>Migration barrier</a:t>
                          </a:r>
                          <a:r>
                            <a:rPr lang="en-US" sz="1200" baseline="0" dirty="0" smtClean="0"/>
                            <a:t> (eV)</a:t>
                          </a:r>
                          <a:endParaRPr lang="en-US" sz="1200" dirty="0" smtClean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dirty="0" smtClean="0"/>
                            <a:t>Jump distance </a:t>
                          </a:r>
                          <a:r>
                            <a:rPr lang="en-US" sz="1200" baseline="0" dirty="0" smtClean="0"/>
                            <a:t>(Å)</a:t>
                          </a:r>
                          <a:endParaRPr lang="en-US" sz="1200" dirty="0" smtClean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b">
                        <a:blipFill rotWithShape="0">
                          <a:blip r:embed="rId5"/>
                          <a:stretch>
                            <a:fillRect l="-298276" t="-654" r="-93966" b="-2202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b">
                        <a:blipFill rotWithShape="0">
                          <a:blip r:embed="rId5"/>
                          <a:stretch>
                            <a:fillRect l="-440000" t="-654" r="-3810" b="-220261"/>
                          </a:stretch>
                        </a:blip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0.425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6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6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0</a:t>
                          </a:r>
                          <a:endParaRPr lang="en-US" sz="1800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38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99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99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0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b="1" dirty="0" smtClean="0"/>
                            <a:t>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.38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74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.5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27</a:t>
                          </a:r>
                          <a:endParaRPr lang="en-US" sz="1800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1.63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85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1.72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27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5.532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4.13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3.45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27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88547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6" grpId="0" animBg="1"/>
      <p:bldP spid="27" grpId="0" animBg="1"/>
      <p:bldP spid="28" grpId="0" animBg="1"/>
      <p:bldP spid="29" grpId="0"/>
      <p:bldP spid="3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atching Oxygen Diffusion Mechanism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642086" y="2563042"/>
            <a:ext cx="143692" cy="16981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Table 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99468533"/>
                  </p:ext>
                </p:extLst>
              </p:nvPr>
            </p:nvGraphicFramePr>
            <p:xfrm>
              <a:off x="642778" y="906962"/>
              <a:ext cx="4805522" cy="3180240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766922"/>
                    <a:gridCol w="1295400"/>
                    <a:gridCol w="990600"/>
                    <a:gridCol w="914400"/>
                    <a:gridCol w="838200"/>
                  </a:tblGrid>
                  <a:tr h="92790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Path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Migration barrier</a:t>
                          </a:r>
                          <a:r>
                            <a:rPr lang="en-US" baseline="0" dirty="0" smtClean="0"/>
                            <a:t> (eV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Jump distance d</a:t>
                          </a:r>
                          <a:r>
                            <a:rPr lang="en-US" baseline="0" dirty="0" smtClean="0"/>
                            <a:t> (Å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mtClean="0">
                                        <a:latin typeface="Cambria Math" panose="02040503050406030204" pitchFamily="18" charset="0"/>
                                      </a:rPr>
                                      <m:t>𝒅</m:t>
                                    </m:r>
                                  </m:e>
                                  <m:sub>
                                    <m:r>
                                      <a:rPr lang="en-US" smtClean="0">
                                        <a:latin typeface="Cambria Math" panose="02040503050406030204" pitchFamily="18" charset="0"/>
                                      </a:rPr>
                                      <m:t>𝒂𝒃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 smtClean="0"/>
                        </a:p>
                        <a:p>
                          <a:pPr algn="ctr"/>
                          <a:r>
                            <a:rPr lang="en-US" dirty="0" smtClean="0"/>
                            <a:t>(in-plane)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𝒅</m:t>
                                  </m:r>
                                </m:e>
                                <m:sub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𝒄</m:t>
                                  </m:r>
                                </m:sub>
                              </m:sSub>
                            </m:oMath>
                          </a14:m>
                          <a:r>
                            <a:rPr lang="en-US" dirty="0" smtClean="0"/>
                            <a:t> (out of plane)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425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3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3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38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9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9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b="1" dirty="0" smtClean="0"/>
                            <a:t>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38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74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53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27</a:t>
                          </a:r>
                          <a:endParaRPr lang="en-US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1.6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8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1.7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27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53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1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3.4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27</a:t>
                          </a:r>
                          <a:endParaRPr lang="en-US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Table 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99468533"/>
                  </p:ext>
                </p:extLst>
              </p:nvPr>
            </p:nvGraphicFramePr>
            <p:xfrm>
              <a:off x="642778" y="906962"/>
              <a:ext cx="4805522" cy="3180240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766922"/>
                    <a:gridCol w="1295400"/>
                    <a:gridCol w="990600"/>
                    <a:gridCol w="914400"/>
                    <a:gridCol w="838200"/>
                  </a:tblGrid>
                  <a:tr h="11887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Path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Migration barrier</a:t>
                          </a:r>
                          <a:r>
                            <a:rPr lang="en-US" baseline="0" dirty="0" smtClean="0"/>
                            <a:t> (eV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Jump distance d</a:t>
                          </a:r>
                          <a:r>
                            <a:rPr lang="en-US" baseline="0" dirty="0" smtClean="0"/>
                            <a:t> (Å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5"/>
                          <a:stretch>
                            <a:fillRect l="-334667" t="-2564" r="-94667" b="-17333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5"/>
                          <a:stretch>
                            <a:fillRect l="-472464" t="-2564" r="-2899" b="-173333"/>
                          </a:stretch>
                        </a:blip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425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3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3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38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9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9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b="1" dirty="0" smtClean="0"/>
                            <a:t>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38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74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53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27</a:t>
                          </a:r>
                          <a:endParaRPr lang="en-US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1.6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8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1.7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27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53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1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3.4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27</a:t>
                          </a:r>
                          <a:endParaRPr lang="en-US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Fallback>
      </mc:AlternateContent>
      <p:sp>
        <p:nvSpPr>
          <p:cNvPr id="9" name="TextBox 8"/>
          <p:cNvSpPr txBox="1"/>
          <p:nvPr/>
        </p:nvSpPr>
        <p:spPr>
          <a:xfrm>
            <a:off x="76200" y="4067175"/>
            <a:ext cx="8610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tx1"/>
                </a:solidFill>
              </a:rPr>
              <a:t>What this means: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Oxygen diffuses mostly </a:t>
            </a:r>
            <a:r>
              <a:rPr lang="en-US" i="1" dirty="0" smtClean="0">
                <a:solidFill>
                  <a:schemeClr val="tx1"/>
                </a:solidFill>
              </a:rPr>
              <a:t>in-plane</a:t>
            </a:r>
            <a:r>
              <a:rPr lang="en-US" dirty="0" smtClean="0">
                <a:solidFill>
                  <a:schemeClr val="tx1"/>
                </a:solidFill>
              </a:rPr>
              <a:t>…</a:t>
            </a:r>
          </a:p>
        </p:txBody>
      </p:sp>
      <p:pic>
        <p:nvPicPr>
          <p:cNvPr id="10" name="Vacancy_migration_mechanism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6"/>
          <a:srcRect l="31424" r="26909"/>
          <a:stretch>
            <a:fillRect/>
          </a:stretch>
        </p:blipFill>
        <p:spPr>
          <a:xfrm>
            <a:off x="6623116" y="900419"/>
            <a:ext cx="2099556" cy="36576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853544" y="857429"/>
            <a:ext cx="1905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bg1"/>
                </a:solidFill>
              </a:rPr>
              <a:t>Atoms colored by displacement from original sites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756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929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Vacancy_migration_mechanism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31424" r="26909"/>
          <a:stretch>
            <a:fillRect/>
          </a:stretch>
        </p:blipFill>
        <p:spPr>
          <a:xfrm>
            <a:off x="6620256" y="906962"/>
            <a:ext cx="2099555" cy="3657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atching Oxygen Diffusion Mechanism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6200" y="4067175"/>
            <a:ext cx="8610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tx1"/>
                </a:solidFill>
              </a:rPr>
              <a:t>What this means: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Oxygen diffuses mostly </a:t>
            </a:r>
            <a:r>
              <a:rPr lang="en-US" i="1" dirty="0" smtClean="0">
                <a:solidFill>
                  <a:schemeClr val="tx1"/>
                </a:solidFill>
              </a:rPr>
              <a:t>in-plane</a:t>
            </a:r>
            <a:r>
              <a:rPr lang="en-US" dirty="0"/>
              <a:t>… </a:t>
            </a:r>
            <a:r>
              <a:rPr lang="en-US" dirty="0" smtClean="0"/>
              <a:t> </a:t>
            </a:r>
            <a:r>
              <a:rPr lang="en-US" dirty="0"/>
              <a:t>but </a:t>
            </a:r>
            <a:r>
              <a:rPr lang="en-US" i="1" dirty="0"/>
              <a:t>out-of-plane</a:t>
            </a:r>
            <a:r>
              <a:rPr lang="en-US" dirty="0"/>
              <a:t> jumps </a:t>
            </a:r>
            <a:r>
              <a:rPr lang="en-US" i="1" dirty="0"/>
              <a:t>do</a:t>
            </a:r>
            <a:r>
              <a:rPr lang="en-US" dirty="0"/>
              <a:t> happen.</a:t>
            </a:r>
          </a:p>
          <a:p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853544" y="857429"/>
            <a:ext cx="1905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bg1"/>
                </a:solidFill>
              </a:rPr>
              <a:t>Atoms colored by displacement from original sites</a:t>
            </a:r>
            <a:endParaRPr lang="en-US" sz="16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3" name="Table 1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692585414"/>
                  </p:ext>
                </p:extLst>
              </p:nvPr>
            </p:nvGraphicFramePr>
            <p:xfrm>
              <a:off x="641522" y="908594"/>
              <a:ext cx="4805522" cy="3180240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766922"/>
                    <a:gridCol w="1295400"/>
                    <a:gridCol w="990600"/>
                    <a:gridCol w="914400"/>
                    <a:gridCol w="838200"/>
                  </a:tblGrid>
                  <a:tr h="92790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Path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Migration barrier</a:t>
                          </a:r>
                          <a:r>
                            <a:rPr lang="en-US" baseline="0" dirty="0" smtClean="0"/>
                            <a:t> (eV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Jump distance d</a:t>
                          </a:r>
                          <a:r>
                            <a:rPr lang="en-US" baseline="0" dirty="0" smtClean="0"/>
                            <a:t> (Å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mtClean="0">
                                        <a:latin typeface="Cambria Math" panose="02040503050406030204" pitchFamily="18" charset="0"/>
                                      </a:rPr>
                                      <m:t>𝒅</m:t>
                                    </m:r>
                                  </m:e>
                                  <m:sub>
                                    <m:r>
                                      <a:rPr lang="en-US" smtClean="0">
                                        <a:latin typeface="Cambria Math" panose="02040503050406030204" pitchFamily="18" charset="0"/>
                                      </a:rPr>
                                      <m:t>𝒂𝒃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 smtClean="0"/>
                        </a:p>
                        <a:p>
                          <a:pPr algn="ctr"/>
                          <a:r>
                            <a:rPr lang="en-US" dirty="0" smtClean="0"/>
                            <a:t>(in-plane)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𝒅</m:t>
                                  </m:r>
                                </m:e>
                                <m:sub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𝒄</m:t>
                                  </m:r>
                                </m:sub>
                              </m:sSub>
                            </m:oMath>
                          </a14:m>
                          <a:r>
                            <a:rPr lang="en-US" dirty="0" smtClean="0"/>
                            <a:t> (out of plane)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425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3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3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</a:t>
                          </a:r>
                          <a:endParaRPr lang="en-US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38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9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9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b="1" dirty="0" smtClean="0"/>
                            <a:t>3</a:t>
                          </a: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38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74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53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27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1.6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8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1.7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27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53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1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3.4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27</a:t>
                          </a:r>
                          <a:endParaRPr lang="en-US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13" name="Table 1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692585414"/>
                  </p:ext>
                </p:extLst>
              </p:nvPr>
            </p:nvGraphicFramePr>
            <p:xfrm>
              <a:off x="641522" y="908594"/>
              <a:ext cx="4805522" cy="3180240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766922"/>
                    <a:gridCol w="1295400"/>
                    <a:gridCol w="990600"/>
                    <a:gridCol w="914400"/>
                    <a:gridCol w="838200"/>
                  </a:tblGrid>
                  <a:tr h="11887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Path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Migration barrier</a:t>
                          </a:r>
                          <a:r>
                            <a:rPr lang="en-US" baseline="0" dirty="0" smtClean="0"/>
                            <a:t> (eV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Jump distance d</a:t>
                          </a:r>
                          <a:r>
                            <a:rPr lang="en-US" baseline="0" dirty="0" smtClean="0"/>
                            <a:t> (Å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6"/>
                          <a:stretch>
                            <a:fillRect l="-334667" t="-2564" r="-94667" b="-17282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6"/>
                          <a:stretch>
                            <a:fillRect l="-472464" t="-2564" r="-2899" b="-172821"/>
                          </a:stretch>
                        </a:blip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425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3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3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</a:t>
                          </a:r>
                          <a:endParaRPr lang="en-US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38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9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9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b="1" dirty="0" smtClean="0"/>
                            <a:t>3</a:t>
                          </a: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38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74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53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27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1.6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8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1.7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27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53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1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3.4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27</a:t>
                          </a:r>
                          <a:endParaRPr lang="en-US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9984144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108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Unknown Diffusivities: Cr in </a:t>
            </a:r>
            <a:r>
              <a:rPr lang="en-US" dirty="0"/>
              <a:t>Cr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38625" y="1006376"/>
            <a:ext cx="4025521" cy="3572395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228600" y="876300"/>
            <a:ext cx="2725712" cy="3605822"/>
            <a:chOff x="5853723" y="1119797"/>
            <a:chExt cx="3952875" cy="5229225"/>
          </a:xfrm>
        </p:grpSpPr>
        <p:pic>
          <p:nvPicPr>
            <p:cNvPr id="8" name="Picture 7"/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5853723" y="1119797"/>
              <a:ext cx="3952875" cy="5229225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6690947" y="3372770"/>
              <a:ext cx="250214" cy="24734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6970347" y="2922220"/>
              <a:ext cx="237514" cy="253390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6957647" y="3811220"/>
              <a:ext cx="237514" cy="253390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6170247" y="3366720"/>
              <a:ext cx="237514" cy="253390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7491047" y="2922220"/>
              <a:ext cx="237514" cy="253390"/>
            </a:xfrm>
            <a:prstGeom prst="ellipse">
              <a:avLst/>
            </a:prstGeom>
            <a:noFill/>
            <a:ln w="28575">
              <a:solidFill>
                <a:srgbClr val="00B05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7745047" y="3354020"/>
              <a:ext cx="237514" cy="253390"/>
            </a:xfrm>
            <a:prstGeom prst="ellipse">
              <a:avLst/>
            </a:pr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5" name="Straight Arrow Connector 14"/>
            <p:cNvCxnSpPr/>
            <p:nvPr/>
          </p:nvCxnSpPr>
          <p:spPr>
            <a:xfrm flipH="1" flipV="1">
              <a:off x="6781217" y="3486477"/>
              <a:ext cx="295187" cy="374628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flipH="1">
              <a:off x="6920217" y="3105351"/>
              <a:ext cx="549887" cy="327175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 flipH="1">
              <a:off x="6974805" y="3509885"/>
              <a:ext cx="770242" cy="41430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8" name="Rectangle 17"/>
            <p:cNvSpPr/>
            <p:nvPr/>
          </p:nvSpPr>
          <p:spPr>
            <a:xfrm>
              <a:off x="6970347" y="3986393"/>
              <a:ext cx="490977" cy="6695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smtClean="0">
                  <a:solidFill>
                    <a:schemeClr val="tx1"/>
                  </a:solidFill>
                </a:rPr>
                <a:t>1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7674800" y="2767149"/>
              <a:ext cx="490977" cy="6695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7929593" y="3277210"/>
              <a:ext cx="490977" cy="6695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>
                  <a:solidFill>
                    <a:schemeClr val="tx1"/>
                  </a:solidFill>
                </a:rPr>
                <a:t>3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057400" y="1028700"/>
            <a:ext cx="1676401" cy="3686653"/>
            <a:chOff x="1659051" y="1119797"/>
            <a:chExt cx="2310649" cy="5081456"/>
          </a:xfrm>
        </p:grpSpPr>
        <p:pic>
          <p:nvPicPr>
            <p:cNvPr id="22" name="Picture 21"/>
            <p:cNvPicPr/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3457" r="12525"/>
            <a:stretch/>
          </p:blipFill>
          <p:spPr>
            <a:xfrm>
              <a:off x="1659051" y="1119797"/>
              <a:ext cx="2310649" cy="5081456"/>
            </a:xfrm>
            <a:prstGeom prst="rect">
              <a:avLst/>
            </a:prstGeom>
          </p:spPr>
        </p:pic>
        <p:sp>
          <p:nvSpPr>
            <p:cNvPr id="23" name="Rectangle 22"/>
            <p:cNvSpPr/>
            <p:nvPr/>
          </p:nvSpPr>
          <p:spPr>
            <a:xfrm>
              <a:off x="2070100" y="4187004"/>
              <a:ext cx="320982" cy="3374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2012066" y="2825120"/>
              <a:ext cx="417115" cy="452090"/>
            </a:xfrm>
            <a:prstGeom prst="ellipse">
              <a:avLst/>
            </a:pr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2127495" y="5064907"/>
              <a:ext cx="466642" cy="63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smtClean="0"/>
                <a:t>4</a:t>
              </a:r>
              <a:endParaRPr lang="en-US" b="1" dirty="0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2048699" y="2830649"/>
              <a:ext cx="466642" cy="63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smtClean="0"/>
                <a:t>5</a:t>
              </a:r>
              <a:endParaRPr lang="en-US" b="1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2236677" y="4430513"/>
              <a:ext cx="4806" cy="728327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>
              <a:stCxn id="24" idx="4"/>
            </p:cNvCxnSpPr>
            <p:nvPr/>
          </p:nvCxnSpPr>
          <p:spPr>
            <a:xfrm flipH="1">
              <a:off x="2217199" y="3277210"/>
              <a:ext cx="3425" cy="918961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9" name="Table 28"/>
              <p:cNvGraphicFramePr>
                <a:graphicFrameLocks noGrp="1"/>
              </p:cNvGraphicFramePr>
              <p:nvPr>
                <p:extLst/>
              </p:nvPr>
            </p:nvGraphicFramePr>
            <p:xfrm>
              <a:off x="4114800" y="1447191"/>
              <a:ext cx="4724400" cy="2919422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685800"/>
                    <a:gridCol w="1219200"/>
                    <a:gridCol w="990600"/>
                    <a:gridCol w="838200"/>
                    <a:gridCol w="990600"/>
                  </a:tblGrid>
                  <a:tr h="92790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Path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Migration barrier</a:t>
                          </a:r>
                          <a:r>
                            <a:rPr lang="en-US" baseline="0" dirty="0" smtClean="0"/>
                            <a:t> (eV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Jump distance d</a:t>
                          </a:r>
                          <a:r>
                            <a:rPr lang="en-US" baseline="0" dirty="0" smtClean="0"/>
                            <a:t> (Å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mtClean="0">
                                        <a:latin typeface="Cambria Math" panose="02040503050406030204" pitchFamily="18" charset="0"/>
                                      </a:rPr>
                                      <m:t>𝒅</m:t>
                                    </m:r>
                                  </m:e>
                                  <m:sub>
                                    <m:r>
                                      <a:rPr lang="en-US" smtClean="0">
                                        <a:latin typeface="Cambria Math" panose="02040503050406030204" pitchFamily="18" charset="0"/>
                                      </a:rPr>
                                      <m:t>𝒂𝒃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 smtClean="0"/>
                        </a:p>
                        <a:p>
                          <a:pPr algn="ctr"/>
                          <a:r>
                            <a:rPr lang="en-US" dirty="0" smtClean="0"/>
                            <a:t>(in-plane)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𝒅</m:t>
                                  </m:r>
                                </m:e>
                                <m:sub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𝒄</m:t>
                                  </m:r>
                                </m:sub>
                              </m:sSub>
                            </m:oMath>
                          </a14:m>
                          <a:r>
                            <a:rPr lang="en-US" dirty="0" smtClean="0"/>
                            <a:t> (out-of-plane)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971</a:t>
                          </a:r>
                          <a:endParaRPr lang="en-US" b="1" dirty="0">
                            <a:solidFill>
                              <a:srgbClr val="00B050"/>
                            </a:solidFill>
                          </a:endParaRP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87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84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385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8.1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9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9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7.8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74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7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.385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7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5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b="1" dirty="0" smtClean="0"/>
                            <a:t>5</a:t>
                          </a: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23</a:t>
                          </a:r>
                          <a:endParaRPr lang="en-US" b="1" dirty="0">
                            <a:solidFill>
                              <a:schemeClr val="accent5">
                                <a:lumMod val="75000"/>
                              </a:schemeClr>
                            </a:solidFill>
                          </a:endParaRP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6.4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6.4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29" name="Table 28"/>
              <p:cNvGraphicFramePr>
                <a:graphicFrameLocks noGrp="1"/>
              </p:cNvGraphicFramePr>
              <p:nvPr>
                <p:extLst/>
              </p:nvPr>
            </p:nvGraphicFramePr>
            <p:xfrm>
              <a:off x="4114800" y="1447191"/>
              <a:ext cx="4724400" cy="2919422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685800"/>
                    <a:gridCol w="1219200"/>
                    <a:gridCol w="990600"/>
                    <a:gridCol w="838200"/>
                    <a:gridCol w="990600"/>
                  </a:tblGrid>
                  <a:tr h="92790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Path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Migration barrier</a:t>
                          </a:r>
                          <a:r>
                            <a:rPr lang="en-US" baseline="0" dirty="0" smtClean="0"/>
                            <a:t> (eV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Jump distance d</a:t>
                          </a:r>
                          <a:r>
                            <a:rPr lang="en-US" baseline="0" dirty="0" smtClean="0"/>
                            <a:t> (Å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6"/>
                          <a:stretch>
                            <a:fillRect l="-345652" t="-3268" r="-121014" b="-2202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6"/>
                          <a:stretch>
                            <a:fillRect l="-379630" t="-3268" r="-3086" b="-220261"/>
                          </a:stretch>
                        </a:blip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971</a:t>
                          </a:r>
                          <a:endParaRPr lang="en-US" b="1" dirty="0">
                            <a:solidFill>
                              <a:srgbClr val="00B050"/>
                            </a:solidFill>
                          </a:endParaRP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87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84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385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8.1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9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9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7.8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74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7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.385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7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5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b="1" dirty="0" smtClean="0"/>
                            <a:t>5</a:t>
                          </a: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23</a:t>
                          </a:r>
                          <a:endParaRPr lang="en-US" b="1" dirty="0">
                            <a:solidFill>
                              <a:schemeClr val="accent5">
                                <a:lumMod val="75000"/>
                              </a:schemeClr>
                            </a:solidFill>
                          </a:endParaRP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6.4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6.4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2775003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9860"/>
            <a:ext cx="9144000" cy="56955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Goal: The Crud Source Term in PWR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7" name="Picture 5" descr="C:\Documents and Settings\Ronald Ballinger\My Documents\MIT\MMM\MAMBA-Cor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624457" y="1244354"/>
            <a:ext cx="1344145" cy="3122738"/>
          </a:xfrm>
          <a:prstGeom prst="rect">
            <a:avLst/>
          </a:prstGeom>
          <a:noFill/>
        </p:spPr>
      </p:pic>
      <p:pic>
        <p:nvPicPr>
          <p:cNvPr id="20" name="Picture 19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536"/>
          <a:stretch/>
        </p:blipFill>
        <p:spPr bwMode="auto">
          <a:xfrm>
            <a:off x="80716" y="1371600"/>
            <a:ext cx="3827318" cy="2903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 Box 13"/>
          <p:cNvSpPr txBox="1">
            <a:spLocks noChangeArrowheads="1"/>
          </p:cNvSpPr>
          <p:nvPr/>
        </p:nvSpPr>
        <p:spPr bwMode="auto">
          <a:xfrm>
            <a:off x="4363556" y="3328726"/>
            <a:ext cx="1295400" cy="11776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817" tIns="45909" rIns="91817" bIns="45909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1400" kern="0" dirty="0" smtClean="0">
                <a:solidFill>
                  <a:schemeClr val="tx1"/>
                </a:solidFill>
                <a:latin typeface="Arial"/>
              </a:rPr>
              <a:t>Crud cross section showing typical structure</a:t>
            </a:r>
            <a:endParaRPr lang="en-US" altLang="en-US" sz="1400" kern="0" dirty="0">
              <a:solidFill>
                <a:schemeClr val="tx1"/>
              </a:solidFill>
              <a:latin typeface="Arial"/>
            </a:endParaRPr>
          </a:p>
        </p:txBody>
      </p:sp>
      <p:cxnSp>
        <p:nvCxnSpPr>
          <p:cNvPr id="22" name="AutoShape 12"/>
          <p:cNvCxnSpPr>
            <a:cxnSpLocks noChangeShapeType="1"/>
          </p:cNvCxnSpPr>
          <p:nvPr/>
        </p:nvCxnSpPr>
        <p:spPr bwMode="auto">
          <a:xfrm flipH="1">
            <a:off x="3886748" y="3923789"/>
            <a:ext cx="504382" cy="124905"/>
          </a:xfrm>
          <a:prstGeom prst="straightConnector1">
            <a:avLst/>
          </a:prstGeom>
          <a:noFill/>
          <a:ln w="38160">
            <a:solidFill>
              <a:srgbClr val="F261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3" name="Text Box 13"/>
          <p:cNvSpPr txBox="1">
            <a:spLocks noChangeArrowheads="1"/>
          </p:cNvSpPr>
          <p:nvPr/>
        </p:nvSpPr>
        <p:spPr bwMode="auto">
          <a:xfrm>
            <a:off x="497526" y="1095759"/>
            <a:ext cx="4476534" cy="845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817" tIns="45909" rIns="91817" bIns="45909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1400" kern="0" dirty="0" smtClean="0">
                <a:solidFill>
                  <a:schemeClr val="tx1"/>
                </a:solidFill>
                <a:latin typeface="Arial"/>
              </a:rPr>
              <a:t>Corrosion products deposit as </a:t>
            </a:r>
            <a:r>
              <a:rPr lang="en-US" altLang="en-US" sz="1400" kern="0" dirty="0">
                <a:latin typeface="Arial"/>
              </a:rPr>
              <a:t>c</a:t>
            </a:r>
            <a:r>
              <a:rPr lang="en-US" altLang="en-US" sz="1400" kern="0" dirty="0" smtClean="0">
                <a:solidFill>
                  <a:schemeClr val="tx1"/>
                </a:solidFill>
                <a:latin typeface="Arial"/>
              </a:rPr>
              <a:t>rud on fuel rods</a:t>
            </a:r>
            <a:endParaRPr lang="en-US" altLang="en-US" sz="1400" kern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5" name="Text Box 13"/>
          <p:cNvSpPr txBox="1">
            <a:spLocks noChangeArrowheads="1"/>
          </p:cNvSpPr>
          <p:nvPr/>
        </p:nvSpPr>
        <p:spPr bwMode="auto">
          <a:xfrm>
            <a:off x="80716" y="1907764"/>
            <a:ext cx="1201151" cy="780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817" tIns="45909" rIns="91817" bIns="45909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1400" kern="0" dirty="0" smtClean="0">
                <a:solidFill>
                  <a:schemeClr val="tx1"/>
                </a:solidFill>
                <a:latin typeface="Arial"/>
              </a:rPr>
              <a:t>Crud constituent phases</a:t>
            </a:r>
            <a:endParaRPr lang="en-US" altLang="en-US" sz="1400" kern="0" dirty="0">
              <a:solidFill>
                <a:schemeClr val="tx1"/>
              </a:solidFill>
              <a:latin typeface="Arial"/>
            </a:endParaRPr>
          </a:p>
        </p:txBody>
      </p:sp>
      <p:cxnSp>
        <p:nvCxnSpPr>
          <p:cNvPr id="26" name="AutoShape 12"/>
          <p:cNvCxnSpPr>
            <a:cxnSpLocks noChangeShapeType="1"/>
          </p:cNvCxnSpPr>
          <p:nvPr/>
        </p:nvCxnSpPr>
        <p:spPr bwMode="auto">
          <a:xfrm>
            <a:off x="122713" y="2720590"/>
            <a:ext cx="487303" cy="523099"/>
          </a:xfrm>
          <a:prstGeom prst="straightConnector1">
            <a:avLst/>
          </a:prstGeom>
          <a:noFill/>
          <a:ln w="38160">
            <a:solidFill>
              <a:srgbClr val="F261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8" name="Rectangle 27"/>
          <p:cNvSpPr/>
          <p:nvPr/>
        </p:nvSpPr>
        <p:spPr>
          <a:xfrm>
            <a:off x="706933" y="4296524"/>
            <a:ext cx="338443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tx1"/>
                </a:solidFill>
                <a:latin typeface="+mj-lt"/>
              </a:rPr>
              <a:t>Short, M. </a:t>
            </a:r>
            <a:r>
              <a:rPr lang="en-US" sz="1050" b="1" dirty="0" err="1">
                <a:solidFill>
                  <a:schemeClr val="tx1"/>
                </a:solidFill>
                <a:latin typeface="+mj-lt"/>
              </a:rPr>
              <a:t>P</a:t>
            </a:r>
            <a:r>
              <a:rPr lang="en-US" sz="1050" b="1" dirty="0" err="1" smtClean="0">
                <a:solidFill>
                  <a:schemeClr val="tx1"/>
                </a:solidFill>
                <a:latin typeface="+mj-lt"/>
              </a:rPr>
              <a:t>.,et</a:t>
            </a:r>
            <a:r>
              <a:rPr lang="en-US" sz="1050" b="1" dirty="0" smtClean="0">
                <a:solidFill>
                  <a:schemeClr val="tx1"/>
                </a:solidFill>
                <a:latin typeface="+mj-lt"/>
              </a:rPr>
              <a:t> al. </a:t>
            </a:r>
            <a:r>
              <a:rPr lang="en-US" sz="1050" b="1" i="1" dirty="0" smtClean="0">
                <a:solidFill>
                  <a:schemeClr val="tx1"/>
                </a:solidFill>
                <a:latin typeface="+mj-lt"/>
              </a:rPr>
              <a:t>MRS-B</a:t>
            </a:r>
            <a:r>
              <a:rPr lang="en-US" sz="1050" b="1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050" b="1" dirty="0">
                <a:solidFill>
                  <a:schemeClr val="tx1"/>
                </a:solidFill>
                <a:latin typeface="+mj-lt"/>
              </a:rPr>
              <a:t>39(1):71-77 (2014</a:t>
            </a:r>
            <a:r>
              <a:rPr lang="en-US" sz="1050" b="1" dirty="0" smtClean="0">
                <a:solidFill>
                  <a:schemeClr val="tx1"/>
                </a:solidFill>
                <a:latin typeface="+mj-lt"/>
              </a:rPr>
              <a:t>)</a:t>
            </a:r>
            <a:endParaRPr lang="en-US" sz="1050" b="1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9" name="Straight Arrow Connector 8"/>
          <p:cNvCxnSpPr/>
          <p:nvPr/>
        </p:nvCxnSpPr>
        <p:spPr bwMode="auto">
          <a:xfrm flipH="1">
            <a:off x="3223327" y="2374704"/>
            <a:ext cx="2809982" cy="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0" name="Right Arrow 29"/>
          <p:cNvSpPr/>
          <p:nvPr/>
        </p:nvSpPr>
        <p:spPr>
          <a:xfrm>
            <a:off x="6968602" y="2013630"/>
            <a:ext cx="1793561" cy="31454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ight Arrow 30"/>
          <p:cNvSpPr/>
          <p:nvPr/>
        </p:nvSpPr>
        <p:spPr>
          <a:xfrm flipH="1">
            <a:off x="6948506" y="3455091"/>
            <a:ext cx="1793561" cy="31454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014992" y="1742252"/>
            <a:ext cx="1592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o hot leg</a:t>
            </a:r>
            <a:endParaRPr lang="en-US" dirty="0"/>
          </a:p>
        </p:txBody>
      </p:sp>
      <p:sp>
        <p:nvSpPr>
          <p:cNvPr id="33" name="TextBox 32"/>
          <p:cNvSpPr txBox="1"/>
          <p:nvPr/>
        </p:nvSpPr>
        <p:spPr>
          <a:xfrm>
            <a:off x="7048989" y="3714934"/>
            <a:ext cx="1592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o cold leg</a:t>
            </a:r>
            <a:endParaRPr lang="en-US" dirty="0"/>
          </a:p>
        </p:txBody>
      </p:sp>
      <p:sp>
        <p:nvSpPr>
          <p:cNvPr id="34" name="Rectangle 33"/>
          <p:cNvSpPr/>
          <p:nvPr/>
        </p:nvSpPr>
        <p:spPr>
          <a:xfrm>
            <a:off x="5600402" y="1155561"/>
            <a:ext cx="1448587" cy="3211532"/>
          </a:xfrm>
          <a:prstGeom prst="rect">
            <a:avLst/>
          </a:prstGeom>
          <a:noFill/>
          <a:ln w="28575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/>
          <p:cNvSpPr txBox="1"/>
          <p:nvPr/>
        </p:nvSpPr>
        <p:spPr>
          <a:xfrm>
            <a:off x="5271597" y="4448924"/>
            <a:ext cx="20498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CASL phase I scope</a:t>
            </a:r>
            <a:endParaRPr lang="en-US" sz="1400" b="1" dirty="0">
              <a:solidFill>
                <a:srgbClr val="0070C0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299205" y="2483677"/>
            <a:ext cx="1631620" cy="92333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What about the crud source term?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596609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2" grpId="0"/>
      <p:bldP spid="33" grpId="0"/>
      <p:bldP spid="3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atching </a:t>
            </a:r>
            <a:r>
              <a:rPr lang="en-US" dirty="0" smtClean="0"/>
              <a:t>Chromium </a:t>
            </a:r>
            <a:r>
              <a:rPr lang="en-US" dirty="0"/>
              <a:t>Diffusion Mechanism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600" y="876300"/>
            <a:ext cx="2725712" cy="3605822"/>
            <a:chOff x="5853723" y="1119797"/>
            <a:chExt cx="3952875" cy="5229225"/>
          </a:xfrm>
        </p:grpSpPr>
        <p:pic>
          <p:nvPicPr>
            <p:cNvPr id="8" name="Picture 7"/>
            <p:cNvPicPr/>
            <p:nvPr/>
          </p:nvPicPr>
          <p:blipFill>
            <a:blip r:embed="rId5"/>
            <a:stretch>
              <a:fillRect/>
            </a:stretch>
          </p:blipFill>
          <p:spPr>
            <a:xfrm>
              <a:off x="5853723" y="1119797"/>
              <a:ext cx="3952875" cy="5229225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6690947" y="3372770"/>
              <a:ext cx="250214" cy="24734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6970347" y="2922220"/>
              <a:ext cx="237514" cy="253390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6957647" y="3811220"/>
              <a:ext cx="237514" cy="253390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6170247" y="3366720"/>
              <a:ext cx="237514" cy="253390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7491047" y="2922220"/>
              <a:ext cx="237514" cy="253390"/>
            </a:xfrm>
            <a:prstGeom prst="ellipse">
              <a:avLst/>
            </a:prstGeom>
            <a:noFill/>
            <a:ln w="28575">
              <a:solidFill>
                <a:srgbClr val="00B05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7745047" y="3354020"/>
              <a:ext cx="237514" cy="253390"/>
            </a:xfrm>
            <a:prstGeom prst="ellipse">
              <a:avLst/>
            </a:pr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5" name="Straight Arrow Connector 14"/>
            <p:cNvCxnSpPr/>
            <p:nvPr/>
          </p:nvCxnSpPr>
          <p:spPr>
            <a:xfrm flipH="1" flipV="1">
              <a:off x="6781217" y="3486477"/>
              <a:ext cx="295187" cy="374628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flipH="1">
              <a:off x="6920217" y="3105351"/>
              <a:ext cx="549887" cy="327175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 flipH="1">
              <a:off x="6974805" y="3509885"/>
              <a:ext cx="770242" cy="41430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8" name="Rectangle 17"/>
            <p:cNvSpPr/>
            <p:nvPr/>
          </p:nvSpPr>
          <p:spPr>
            <a:xfrm>
              <a:off x="6970347" y="3986393"/>
              <a:ext cx="490977" cy="6695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smtClean="0">
                  <a:solidFill>
                    <a:schemeClr val="tx1"/>
                  </a:solidFill>
                </a:rPr>
                <a:t>1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7674800" y="2767149"/>
              <a:ext cx="490977" cy="6695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7929593" y="3277210"/>
              <a:ext cx="490977" cy="6695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>
                  <a:solidFill>
                    <a:schemeClr val="tx1"/>
                  </a:solidFill>
                </a:rPr>
                <a:t>3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057400" y="1028700"/>
            <a:ext cx="1676401" cy="3686653"/>
            <a:chOff x="1659051" y="1119797"/>
            <a:chExt cx="2310649" cy="5081456"/>
          </a:xfrm>
        </p:grpSpPr>
        <p:pic>
          <p:nvPicPr>
            <p:cNvPr id="22" name="Picture 21"/>
            <p:cNvPicPr/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3457" r="12525"/>
            <a:stretch/>
          </p:blipFill>
          <p:spPr>
            <a:xfrm>
              <a:off x="1659051" y="1119797"/>
              <a:ext cx="2310649" cy="5081456"/>
            </a:xfrm>
            <a:prstGeom prst="rect">
              <a:avLst/>
            </a:prstGeom>
          </p:spPr>
        </p:pic>
        <p:sp>
          <p:nvSpPr>
            <p:cNvPr id="23" name="Rectangle 22"/>
            <p:cNvSpPr/>
            <p:nvPr/>
          </p:nvSpPr>
          <p:spPr>
            <a:xfrm>
              <a:off x="2070100" y="4187004"/>
              <a:ext cx="320982" cy="3374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2012066" y="2825120"/>
              <a:ext cx="417115" cy="452090"/>
            </a:xfrm>
            <a:prstGeom prst="ellipse">
              <a:avLst/>
            </a:pr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2127495" y="5064907"/>
              <a:ext cx="466642" cy="63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smtClean="0"/>
                <a:t>4</a:t>
              </a:r>
              <a:endParaRPr lang="en-US" b="1" dirty="0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2048699" y="2830649"/>
              <a:ext cx="466642" cy="63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smtClean="0"/>
                <a:t>5</a:t>
              </a:r>
              <a:endParaRPr lang="en-US" b="1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2236677" y="4430513"/>
              <a:ext cx="4806" cy="728327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>
              <a:stCxn id="24" idx="4"/>
            </p:cNvCxnSpPr>
            <p:nvPr/>
          </p:nvCxnSpPr>
          <p:spPr>
            <a:xfrm flipH="1">
              <a:off x="2217199" y="3277210"/>
              <a:ext cx="3425" cy="918961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30" name="Cr_interstital_migration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7"/>
          <a:srcRect l="21064" t="25231" r="25026" b="23657"/>
          <a:stretch>
            <a:fillRect/>
          </a:stretch>
        </p:blipFill>
        <p:spPr>
          <a:xfrm>
            <a:off x="4564608" y="772053"/>
            <a:ext cx="4038600" cy="3505200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3903158" y="4169906"/>
            <a:ext cx="5029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tx1"/>
                </a:solidFill>
              </a:rPr>
              <a:t>What does this mean?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err="1" smtClean="0">
                <a:solidFill>
                  <a:schemeClr val="tx1"/>
                </a:solidFill>
              </a:rPr>
              <a:t>Cations</a:t>
            </a:r>
            <a:r>
              <a:rPr lang="en-US" dirty="0" smtClean="0">
                <a:solidFill>
                  <a:schemeClr val="tx1"/>
                </a:solidFill>
              </a:rPr>
              <a:t> migrate </a:t>
            </a:r>
            <a:r>
              <a:rPr lang="en-US" i="1" dirty="0" smtClean="0">
                <a:solidFill>
                  <a:schemeClr val="tx1"/>
                </a:solidFill>
              </a:rPr>
              <a:t>out-of-plane</a:t>
            </a:r>
            <a:r>
              <a:rPr lang="en-US" dirty="0" smtClean="0">
                <a:solidFill>
                  <a:schemeClr val="tx1"/>
                </a:solidFill>
              </a:rPr>
              <a:t>, which is very </a:t>
            </a:r>
            <a:r>
              <a:rPr lang="en-US" i="1" dirty="0" smtClean="0">
                <a:solidFill>
                  <a:schemeClr val="tx1"/>
                </a:solidFill>
              </a:rPr>
              <a:t>anisotropic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3702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333" fill="hold"/>
                                        <p:tgtEl>
                                          <p:spTgt spid="3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3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3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0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30"/>
                </p:tgtEl>
              </p:cMediaNode>
            </p:video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ull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 Dataset for Oxyg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127" y="785455"/>
            <a:ext cx="4387169" cy="377022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5296" y="914433"/>
            <a:ext cx="3794848" cy="384048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554226" y="3376255"/>
            <a:ext cx="266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tx1"/>
                </a:solidFill>
              </a:rPr>
              <a:t>Anisotropic (</a:t>
            </a:r>
            <a:r>
              <a:rPr lang="en-US" b="1" dirty="0" smtClean="0"/>
              <a:t>factor of 2)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011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ull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 Dataset for Chromiu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706" y="934173"/>
            <a:ext cx="4429994" cy="36945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6148" y="892188"/>
            <a:ext cx="3484641" cy="377851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662580" y="3753832"/>
            <a:ext cx="266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Highly </a:t>
            </a:r>
            <a:r>
              <a:rPr lang="en-US" b="1" dirty="0" smtClean="0"/>
              <a:t>anisotropic (30x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078099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omparison to Other Syste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harged defect anisotropy is quite common in other system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72" y="2104486"/>
            <a:ext cx="4572000" cy="227026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051725" y="4399223"/>
            <a:ext cx="318030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rgbClr val="231F20"/>
                </a:solidFill>
                <a:latin typeface="+mj-lt"/>
              </a:rPr>
              <a:t>E. </a:t>
            </a:r>
            <a:r>
              <a:rPr lang="en-US" sz="1400" dirty="0" smtClean="0">
                <a:solidFill>
                  <a:srgbClr val="231F20"/>
                </a:solidFill>
                <a:latin typeface="+mj-lt"/>
              </a:rPr>
              <a:t>Kendrick et al. </a:t>
            </a:r>
            <a:r>
              <a:rPr lang="sv-SE" sz="1400" i="1" dirty="0" smtClean="0">
                <a:solidFill>
                  <a:srgbClr val="231F20"/>
                </a:solidFill>
                <a:latin typeface="+mj-lt"/>
              </a:rPr>
              <a:t>Nat</a:t>
            </a:r>
            <a:r>
              <a:rPr lang="sv-SE" sz="1400" i="1" dirty="0">
                <a:solidFill>
                  <a:srgbClr val="231F20"/>
                </a:solidFill>
                <a:latin typeface="+mj-lt"/>
              </a:rPr>
              <a:t>. Mater.</a:t>
            </a:r>
            <a:r>
              <a:rPr lang="sv-SE" sz="1400" dirty="0">
                <a:solidFill>
                  <a:srgbClr val="231F20"/>
                </a:solidFill>
                <a:latin typeface="+mj-lt"/>
              </a:rPr>
              <a:t>, 2007, 6, </a:t>
            </a:r>
            <a:r>
              <a:rPr lang="sv-SE" sz="1400" dirty="0" smtClean="0">
                <a:solidFill>
                  <a:srgbClr val="231F20"/>
                </a:solidFill>
                <a:latin typeface="+mj-lt"/>
              </a:rPr>
              <a:t>871</a:t>
            </a:r>
            <a:endParaRPr lang="en-US" sz="1400" dirty="0"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81354" y="1416818"/>
            <a:ext cx="43846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Long-range, anisotropic diffusion by hand-to-hand tetrahedral in La</a:t>
            </a:r>
            <a:r>
              <a:rPr lang="en-US" baseline="-25000" dirty="0" smtClean="0"/>
              <a:t>1-x</a:t>
            </a:r>
            <a:r>
              <a:rPr lang="en-US" dirty="0" smtClean="0"/>
              <a:t>Ba</a:t>
            </a:r>
            <a:r>
              <a:rPr lang="en-US" baseline="-25000" dirty="0" smtClean="0"/>
              <a:t>1+x</a:t>
            </a:r>
            <a:r>
              <a:rPr lang="en-US" dirty="0" smtClean="0"/>
              <a:t>GaO</a:t>
            </a:r>
            <a:r>
              <a:rPr lang="en-US" baseline="-25000" dirty="0" smtClean="0"/>
              <a:t>4x/2</a:t>
            </a:r>
            <a:r>
              <a:rPr lang="en-US" dirty="0" smtClean="0"/>
              <a:t> by DFT</a:t>
            </a:r>
            <a:endParaRPr lang="en-US" baseline="-250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7022" y="2056710"/>
            <a:ext cx="2674703" cy="22860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665972" y="1410379"/>
            <a:ext cx="43846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In-plane O diffusion by the vacancy mechanism, with oxygen ion density in red</a:t>
            </a:r>
            <a:endParaRPr lang="en-US" baseline="-25000" dirty="0"/>
          </a:p>
        </p:txBody>
      </p:sp>
      <p:sp>
        <p:nvSpPr>
          <p:cNvPr id="11" name="Rectangle 10"/>
          <p:cNvSpPr/>
          <p:nvPr/>
        </p:nvSpPr>
        <p:spPr>
          <a:xfrm>
            <a:off x="5104564" y="4399223"/>
            <a:ext cx="38686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smtClean="0">
                <a:solidFill>
                  <a:srgbClr val="231F20"/>
                </a:solidFill>
                <a:latin typeface="+mj-lt"/>
              </a:rPr>
              <a:t>A. </a:t>
            </a:r>
            <a:r>
              <a:rPr lang="en-US" sz="1400" dirty="0" err="1" smtClean="0">
                <a:solidFill>
                  <a:srgbClr val="231F20"/>
                </a:solidFill>
                <a:latin typeface="+mj-lt"/>
              </a:rPr>
              <a:t>Chroneos</a:t>
            </a:r>
            <a:r>
              <a:rPr lang="en-US" sz="1400" dirty="0" smtClean="0">
                <a:solidFill>
                  <a:srgbClr val="231F20"/>
                </a:solidFill>
                <a:latin typeface="+mj-lt"/>
              </a:rPr>
              <a:t> et al. </a:t>
            </a:r>
            <a:r>
              <a:rPr lang="en-US" sz="1400" i="1" dirty="0" smtClean="0">
                <a:solidFill>
                  <a:srgbClr val="231F20"/>
                </a:solidFill>
                <a:latin typeface="+mj-lt"/>
              </a:rPr>
              <a:t>J. Mater. Chem.</a:t>
            </a:r>
            <a:r>
              <a:rPr lang="en-US" sz="1400" dirty="0" smtClean="0">
                <a:solidFill>
                  <a:srgbClr val="231F20"/>
                </a:solidFill>
                <a:latin typeface="+mj-lt"/>
              </a:rPr>
              <a:t>, 20:266-270 (2010)</a:t>
            </a:r>
            <a:endParaRPr lang="en-US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62029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Diffusion Coefficients in </a:t>
            </a:r>
            <a:r>
              <a:rPr lang="en-US" dirty="0"/>
              <a:t>Cr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8004" y="817275"/>
            <a:ext cx="4572000" cy="383015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5075" y="817275"/>
            <a:ext cx="4244586" cy="383133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1478922" y="1373851"/>
                <a:ext cx="6707108" cy="231781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FF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:r>
                  <a:rPr lang="en-US" b="1" dirty="0" smtClean="0">
                    <a:latin typeface="+mj-lt"/>
                  </a:rPr>
                  <a:t>O diffusivity: 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𝟕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𝟒𝟔</m:t>
                    </m:r>
                  </m:oMath>
                </a14:m>
                <a:r>
                  <a:rPr lang="en-US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𝟖</m:t>
                        </m:r>
                      </m:sup>
                    </m:sSup>
                    <m:sSup>
                      <m:sSupPr>
                        <m:ctrlPr>
                          <a:rPr lang="en-US" b="1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𝟑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𝟎𝟓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b="1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dirty="0" smtClean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b="1" i="1" dirty="0" smtClean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r>
                  <a:rPr lang="en-US" b="1" dirty="0" smtClean="0">
                    <a:latin typeface="+mj-lt"/>
                  </a:rPr>
                  <a:t> (plus doping effects)</a:t>
                </a:r>
              </a:p>
              <a:p>
                <a:pPr>
                  <a:lnSpc>
                    <a:spcPct val="200000"/>
                  </a:lnSpc>
                </a:pPr>
                <a:r>
                  <a:rPr lang="en-US" b="1" dirty="0" smtClean="0">
                    <a:latin typeface="+mj-lt"/>
                  </a:rPr>
                  <a:t>Cr diffusivity: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𝟗𝟕</m:t>
                    </m:r>
                  </m:oMath>
                </a14:m>
                <a:r>
                  <a:rPr lang="en-US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𝟗</m:t>
                        </m:r>
                      </m:sup>
                    </m:sSup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𝟕𝟐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b="1" dirty="0" smtClean="0">
                  <a:latin typeface="+mj-lt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b="1" dirty="0" smtClean="0">
                    <a:latin typeface="+mj-lt"/>
                  </a:rPr>
                  <a:t>Fe diffusivity: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𝟖𝟗</m:t>
                    </m:r>
                  </m:oMath>
                </a14:m>
                <a:r>
                  <a:rPr lang="en-US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𝟖</m:t>
                        </m:r>
                      </m:sup>
                    </m:sSup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𝟕𝟖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b="1" dirty="0" smtClean="0">
                  <a:latin typeface="+mj-lt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b="1" dirty="0" smtClean="0">
                    <a:latin typeface="+mj-lt"/>
                  </a:rPr>
                  <a:t>Ni diffusivity: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𝟕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𝟕𝟖</m:t>
                    </m:r>
                  </m:oMath>
                </a14:m>
                <a:r>
                  <a:rPr lang="en-US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𝟖</m:t>
                        </m:r>
                      </m:sup>
                    </m:sSup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𝟗𝟔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b="1" dirty="0">
                  <a:latin typeface="+mj-lt"/>
                </a:endParaRPr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78922" y="1373851"/>
                <a:ext cx="6707108" cy="2317814"/>
              </a:xfrm>
              <a:prstGeom prst="rect">
                <a:avLst/>
              </a:prstGeom>
              <a:blipFill rotWithShape="0">
                <a:blip r:embed="rId5"/>
                <a:stretch>
                  <a:fillRect l="-725" b="-2604"/>
                </a:stretch>
              </a:blipFill>
              <a:ln w="19050"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22413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Effects of Dopant </a:t>
            </a:r>
            <a:r>
              <a:rPr lang="en-US" dirty="0" err="1" smtClean="0"/>
              <a:t>C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Ni slows oxygen diffusion more than Fe for both defect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77361" y="1638693"/>
            <a:ext cx="3633909" cy="302281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762000" y="1541408"/>
                <a:ext cx="3523707" cy="8710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 smtClean="0">
                    <a:solidFill>
                      <a:schemeClr val="tx1"/>
                    </a:solidFill>
                  </a:rPr>
                  <a:t>At 1800K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sSubSup>
                          <m:sSubSupPr>
                            <m:ctrlP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𝐶𝑟</m:t>
                            </m:r>
                          </m:e>
                          <m:sub/>
                          <m:sup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0.33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𝐹𝑒</m:t>
                            </m:r>
                          </m:e>
                          <m:sub/>
                          <m:sup>
                            <m: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0.33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𝑁𝑖</m:t>
                            </m:r>
                          </m:e>
                          <m:sub/>
                          <m:sup>
                            <m: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0.33</m:t>
                            </m:r>
                          </m:sup>
                        </m:sSubSup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𝑂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</m:oMath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000" y="1541408"/>
                <a:ext cx="3523707" cy="871008"/>
              </a:xfrm>
              <a:prstGeom prst="rect">
                <a:avLst/>
              </a:prstGeom>
              <a:blipFill rotWithShape="0">
                <a:blip r:embed="rId4"/>
                <a:stretch>
                  <a:fillRect l="-1038" t="-69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Table 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469075997"/>
                  </p:ext>
                </p:extLst>
              </p:nvPr>
            </p:nvGraphicFramePr>
            <p:xfrm>
              <a:off x="381000" y="2209800"/>
              <a:ext cx="3942080" cy="2291685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1275080"/>
                    <a:gridCol w="1371600"/>
                    <a:gridCol w="1295400"/>
                  </a:tblGrid>
                  <a:tr h="1067049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Diffusivity at 1800K</a:t>
                          </a:r>
                          <a:endParaRPr lang="en-US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Interstitial diffusion (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𝒄𝒎</m:t>
                                  </m:r>
                                </m:e>
                                <m:sup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𝟐</m:t>
                                  </m:r>
                                </m:sup>
                              </m:sSup>
                              <m:r>
                                <a:rPr lang="en-US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mtClean="0">
                                  <a:latin typeface="Cambria Math" panose="02040503050406030204" pitchFamily="18" charset="0"/>
                                </a:rPr>
                                <m:t>𝒔</m:t>
                              </m:r>
                            </m:oMath>
                          </a14:m>
                          <a:r>
                            <a:rPr lang="en-US" dirty="0" smtClean="0"/>
                            <a:t>)</a:t>
                          </a:r>
                          <a:endParaRPr lang="en-US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Vacancy</a:t>
                          </a:r>
                          <a:r>
                            <a:rPr lang="en-US" baseline="0" dirty="0" smtClean="0"/>
                            <a:t> diffusion</a:t>
                          </a:r>
                          <a:r>
                            <a:rPr lang="en-US" dirty="0" smtClean="0"/>
                            <a:t> (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𝒄𝒎</m:t>
                                  </m:r>
                                </m:e>
                                <m:sup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𝟐</m:t>
                                  </m:r>
                                </m:sup>
                              </m:sSup>
                              <m:r>
                                <a:rPr lang="en-US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mtClean="0">
                                  <a:latin typeface="Cambria Math" panose="02040503050406030204" pitchFamily="18" charset="0"/>
                                </a:rPr>
                                <m:t>𝒔</m:t>
                              </m:r>
                            </m:oMath>
                          </a14:m>
                          <a:r>
                            <a:rPr lang="en-US" dirty="0" smtClean="0"/>
                            <a:t>)</a:t>
                          </a:r>
                          <a:endParaRPr lang="en-US" dirty="0"/>
                        </a:p>
                      </a:txBody>
                      <a:tcPr anchor="ctr"/>
                    </a:tc>
                  </a:tr>
                  <a:tr h="612318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800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800" b="1" i="1" smtClean="0">
                                        <a:latin typeface="Cambria Math" panose="02040503050406030204" pitchFamily="18" charset="0"/>
                                      </a:rPr>
                                      <m:t>𝐅𝐞</m:t>
                                    </m:r>
                                  </m:e>
                                  <m:sup>
                                    <m:r>
                                      <a:rPr lang="en-US" sz="1800" b="1" i="1" smtClean="0">
                                        <a:latin typeface="Cambria Math" panose="02040503050406030204" pitchFamily="18" charset="0"/>
                                      </a:rPr>
                                      <m:t>𝟑</m:t>
                                    </m:r>
                                    <m:r>
                                      <a:rPr lang="en-US" sz="1800" b="1" smtClean="0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5.82∙10</a:t>
                          </a:r>
                          <a:r>
                            <a:rPr lang="en-US" b="1" baseline="30000" dirty="0" smtClean="0"/>
                            <a:t>-11</a:t>
                          </a:r>
                          <a:endParaRPr lang="en-US" b="1" baseline="30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29∙10</a:t>
                          </a:r>
                          <a:r>
                            <a:rPr lang="en-US" b="1" baseline="30000" dirty="0" smtClean="0"/>
                            <a:t>-10</a:t>
                          </a:r>
                          <a:endParaRPr lang="en-US" b="1" baseline="30000" dirty="0"/>
                        </a:p>
                      </a:txBody>
                      <a:tcPr anchor="ctr"/>
                    </a:tc>
                  </a:tr>
                  <a:tr h="612318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800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800" b="1" i="1" smtClean="0">
                                        <a:latin typeface="Cambria Math" panose="02040503050406030204" pitchFamily="18" charset="0"/>
                                      </a:rPr>
                                      <m:t>𝐍𝐢</m:t>
                                    </m:r>
                                  </m:e>
                                  <m:sup>
                                    <m:r>
                                      <a:rPr lang="en-US" sz="1800" b="1" i="1">
                                        <a:latin typeface="Cambria Math" panose="02040503050406030204" pitchFamily="18" charset="0"/>
                                      </a:rPr>
                                      <m:t>𝟑</m:t>
                                    </m:r>
                                    <m:r>
                                      <a:rPr lang="en-US" sz="1800" b="1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7∙10</a:t>
                          </a:r>
                          <a:r>
                            <a:rPr lang="en-US" b="1" baseline="30000" dirty="0" smtClean="0"/>
                            <a:t>-10</a:t>
                          </a:r>
                          <a:endParaRPr lang="en-US" b="1" baseline="30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32∙10</a:t>
                          </a:r>
                          <a:r>
                            <a:rPr lang="en-US" b="1" baseline="30000" dirty="0" smtClean="0"/>
                            <a:t>-10</a:t>
                          </a:r>
                          <a:endParaRPr lang="en-US" b="1" baseline="30000" dirty="0"/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Table 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469075997"/>
                  </p:ext>
                </p:extLst>
              </p:nvPr>
            </p:nvGraphicFramePr>
            <p:xfrm>
              <a:off x="381000" y="2209800"/>
              <a:ext cx="3942080" cy="2291685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1275080"/>
                    <a:gridCol w="1371600"/>
                    <a:gridCol w="1295400"/>
                  </a:tblGrid>
                  <a:tr h="1067049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Diffusivity at 1800K</a:t>
                          </a:r>
                          <a:endParaRPr lang="en-US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 rotWithShape="0">
                          <a:blip r:embed="rId5"/>
                          <a:stretch>
                            <a:fillRect l="-93778" t="-568" r="-96444" b="-11534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 rotWithShape="0">
                          <a:blip r:embed="rId5"/>
                          <a:stretch>
                            <a:fillRect l="-204695" t="-568" r="-1878" b="-115341"/>
                          </a:stretch>
                        </a:blipFill>
                      </a:tcPr>
                    </a:tc>
                  </a:tr>
                  <a:tr h="612318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 rotWithShape="0">
                          <a:blip r:embed="rId5"/>
                          <a:stretch>
                            <a:fillRect l="-476" t="-177000" r="-210476" b="-103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5.82∙10</a:t>
                          </a:r>
                          <a:r>
                            <a:rPr lang="en-US" b="1" baseline="30000" dirty="0" smtClean="0"/>
                            <a:t>-11</a:t>
                          </a:r>
                          <a:endParaRPr lang="en-US" b="1" baseline="30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29∙10</a:t>
                          </a:r>
                          <a:r>
                            <a:rPr lang="en-US" b="1" baseline="30000" dirty="0" smtClean="0"/>
                            <a:t>-10</a:t>
                          </a:r>
                          <a:endParaRPr lang="en-US" b="1" baseline="30000" dirty="0"/>
                        </a:p>
                      </a:txBody>
                      <a:tcPr anchor="ctr"/>
                    </a:tc>
                  </a:tr>
                  <a:tr h="612318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 rotWithShape="0">
                          <a:blip r:embed="rId5"/>
                          <a:stretch>
                            <a:fillRect l="-476" t="-274257" r="-210476" b="-198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7∙10</a:t>
                          </a:r>
                          <a:r>
                            <a:rPr lang="en-US" b="1" baseline="30000" dirty="0" smtClean="0"/>
                            <a:t>-10</a:t>
                          </a:r>
                          <a:endParaRPr lang="en-US" b="1" baseline="30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32∙10</a:t>
                          </a:r>
                          <a:r>
                            <a:rPr lang="en-US" b="1" baseline="30000" dirty="0" smtClean="0"/>
                            <a:t>-10</a:t>
                          </a:r>
                          <a:endParaRPr lang="en-US" b="1" baseline="30000" dirty="0"/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1865579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omparison to Recent 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ame diffusivities studied by MD in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, different result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4303731"/>
            <a:ext cx="57577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latin typeface="+mj-lt"/>
              </a:rPr>
              <a:t>J. </a:t>
            </a:r>
            <a:r>
              <a:rPr lang="en-US" sz="1400" dirty="0" err="1" smtClean="0">
                <a:latin typeface="+mj-lt"/>
              </a:rPr>
              <a:t>Vaari</a:t>
            </a:r>
            <a:r>
              <a:rPr lang="en-US" sz="1400" dirty="0" smtClean="0">
                <a:latin typeface="+mj-lt"/>
              </a:rPr>
              <a:t>. “</a:t>
            </a:r>
            <a:r>
              <a:rPr lang="en-US" sz="1400" dirty="0">
                <a:latin typeface="+mj-lt"/>
              </a:rPr>
              <a:t>Molecular dynamics simulations of vacancy diffusion in chromium(III) oxide, hematite, magnetite and </a:t>
            </a:r>
            <a:r>
              <a:rPr lang="en-US" sz="1400" dirty="0" smtClean="0">
                <a:latin typeface="+mj-lt"/>
              </a:rPr>
              <a:t>chromite.” </a:t>
            </a:r>
            <a:r>
              <a:rPr lang="en-US" sz="1400" i="1" dirty="0" smtClean="0">
                <a:latin typeface="+mj-lt"/>
              </a:rPr>
              <a:t>Solid State Ionics</a:t>
            </a:r>
            <a:r>
              <a:rPr lang="en-US" sz="1400" dirty="0" smtClean="0">
                <a:latin typeface="+mj-lt"/>
              </a:rPr>
              <a:t>, 270:10-15 (2015).</a:t>
            </a:r>
            <a:endParaRPr lang="en-US" sz="1400" dirty="0">
              <a:latin typeface="+mj-lt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688" y="1552185"/>
            <a:ext cx="2937719" cy="27432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99095" y="1608877"/>
            <a:ext cx="2980186" cy="2743200"/>
          </a:xfrm>
          <a:prstGeom prst="rect">
            <a:avLst/>
          </a:prstGeom>
        </p:spPr>
      </p:pic>
      <p:cxnSp>
        <p:nvCxnSpPr>
          <p:cNvPr id="19" name="Straight Connector 18"/>
          <p:cNvCxnSpPr/>
          <p:nvPr/>
        </p:nvCxnSpPr>
        <p:spPr>
          <a:xfrm>
            <a:off x="6019800" y="1296237"/>
            <a:ext cx="0" cy="344658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8593" y="1335860"/>
            <a:ext cx="3200400" cy="200134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7474" y="2370629"/>
            <a:ext cx="2743200" cy="2298094"/>
          </a:xfrm>
          <a:prstGeom prst="rect">
            <a:avLst/>
          </a:prstGeom>
        </p:spPr>
      </p:pic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2590274"/>
              </p:ext>
            </p:extLst>
          </p:nvPr>
        </p:nvGraphicFramePr>
        <p:xfrm>
          <a:off x="6179281" y="3868713"/>
          <a:ext cx="1905000" cy="80001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85800"/>
                <a:gridCol w="1219200"/>
              </a:tblGrid>
              <a:tr h="401706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Path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 smtClean="0"/>
                        <a:t>H</a:t>
                      </a:r>
                      <a:r>
                        <a:rPr lang="en-US" sz="1800" baseline="-25000" dirty="0" err="1" smtClean="0"/>
                        <a:t>m</a:t>
                      </a:r>
                      <a:r>
                        <a:rPr lang="en-US" sz="1800" dirty="0" smtClean="0"/>
                        <a:t> </a:t>
                      </a:r>
                      <a:r>
                        <a:rPr lang="en-US" sz="1800" baseline="0" dirty="0" smtClean="0"/>
                        <a:t>(eV)</a:t>
                      </a:r>
                      <a:endParaRPr lang="en-US" sz="1800" dirty="0" smtClean="0"/>
                    </a:p>
                  </a:txBody>
                  <a:tcPr/>
                </a:tc>
              </a:tr>
              <a:tr h="398304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/>
                        <a:t>1</a:t>
                      </a:r>
                      <a:endParaRPr lang="en-US" sz="1800" b="1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/>
                        <a:t>0.971</a:t>
                      </a:r>
                      <a:endParaRPr lang="en-US" sz="1800" b="1" dirty="0">
                        <a:solidFill>
                          <a:srgbClr val="00B050"/>
                        </a:solidFill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4823209" y="1738365"/>
            <a:ext cx="1196591" cy="632264"/>
          </a:xfrm>
          <a:prstGeom prst="rect">
            <a:avLst/>
          </a:prstGeom>
          <a:solidFill>
            <a:srgbClr val="000000">
              <a:alpha val="10196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504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heck Calculations with Experimental Dat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861738"/>
            <a:ext cx="8686800" cy="3732885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Check computed MD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 data with tracer diffusion experiments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E</a:t>
            </a:r>
            <a:r>
              <a:rPr lang="en-US" baseline="-25000" dirty="0" smtClean="0"/>
              <a:t>A</a:t>
            </a:r>
            <a:r>
              <a:rPr lang="en-US" dirty="0" smtClean="0"/>
              <a:t> matches to within experimental error</a:t>
            </a:r>
          </a:p>
          <a:p>
            <a:r>
              <a:rPr lang="en-US" dirty="0" smtClean="0"/>
              <a:t>D</a:t>
            </a:r>
            <a:r>
              <a:rPr lang="en-US" baseline="-25000" dirty="0" smtClean="0"/>
              <a:t>0</a:t>
            </a:r>
            <a:r>
              <a:rPr lang="en-US" dirty="0" smtClean="0"/>
              <a:t> differs by one order of magnitude (pretty good for MD)</a:t>
            </a:r>
          </a:p>
          <a:p>
            <a:r>
              <a:rPr lang="en-US" b="1" dirty="0" smtClean="0"/>
              <a:t>Takeaway message: Our MD appears to be correct!</a:t>
            </a:r>
            <a:endParaRPr lang="en-US" b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lum bright="-20000" contrast="40000"/>
          </a:blip>
          <a:stretch>
            <a:fillRect/>
          </a:stretch>
        </p:blipFill>
        <p:spPr>
          <a:xfrm>
            <a:off x="7538" y="1420233"/>
            <a:ext cx="9144000" cy="112658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315537" y="1916468"/>
            <a:ext cx="25129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 smtClean="0">
                <a:latin typeface="+mj-lt"/>
              </a:rPr>
              <a:t>A. C. S. </a:t>
            </a:r>
            <a:r>
              <a:rPr lang="en-US" sz="1400" b="1" dirty="0" err="1" smtClean="0">
                <a:latin typeface="+mj-lt"/>
              </a:rPr>
              <a:t>Sabioni</a:t>
            </a:r>
            <a:r>
              <a:rPr lang="en-US" sz="1400" b="1" dirty="0" smtClean="0">
                <a:latin typeface="+mj-lt"/>
              </a:rPr>
              <a:t> et al. </a:t>
            </a:r>
            <a:r>
              <a:rPr lang="en-US" sz="1400" b="1" i="1" dirty="0" smtClean="0"/>
              <a:t>Mat. Sci. Eng. A</a:t>
            </a:r>
            <a:r>
              <a:rPr lang="en-US" sz="1400" b="1" dirty="0" smtClean="0"/>
              <a:t>, 392:254-261 (2005)</a:t>
            </a:r>
            <a:endParaRPr lang="en-US" sz="1400" b="1" dirty="0">
              <a:latin typeface="+mj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/>
              <p:cNvSpPr/>
              <p:nvPr/>
            </p:nvSpPr>
            <p:spPr>
              <a:xfrm>
                <a:off x="774978" y="2727485"/>
                <a:ext cx="8051243" cy="3808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b="1" dirty="0" smtClean="0"/>
                  <a:t>Our Fe diffusivity: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𝑫</m:t>
                    </m:r>
                    <m:r>
                      <a:rPr lang="en-US" b="1" i="1" baseline="-25000" smtClean="0">
                        <a:latin typeface="Cambria Math" panose="02040503050406030204" pitchFamily="18" charset="0"/>
                      </a:rPr>
                      <m:t>𝒃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b="1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b="1">
                        <a:latin typeface="Cambria Math" panose="02040503050406030204" pitchFamily="18" charset="0"/>
                      </a:rPr>
                      <m:t>𝟖𝟗</m:t>
                    </m:r>
                  </m:oMath>
                </a14:m>
                <a:r>
                  <a:rPr lang="en-US" b="1" dirty="0"/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𝟖</m:t>
                        </m:r>
                      </m:sup>
                    </m:sSup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𝟐𝟔𝟗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𝒌𝑱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r>
                  <a:rPr lang="en-US" dirty="0" smtClean="0"/>
                  <a:t>  (1eV/atom = 96.85 kJ/</a:t>
                </a:r>
                <a:r>
                  <a:rPr lang="en-US" dirty="0" err="1" smtClean="0"/>
                  <a:t>mol</a:t>
                </a:r>
                <a:r>
                  <a:rPr lang="en-US" dirty="0" smtClean="0"/>
                  <a:t>)</a:t>
                </a:r>
                <a:endParaRPr lang="en-US" dirty="0"/>
              </a:p>
            </p:txBody>
          </p:sp>
        </mc:Choice>
        <mc:Fallback xmlns="">
          <p:sp>
            <p:nvSpPr>
              <p:cNvPr id="12" name="Rectangle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4978" y="2727485"/>
                <a:ext cx="8051243" cy="380810"/>
              </a:xfrm>
              <a:prstGeom prst="rect">
                <a:avLst/>
              </a:prstGeom>
              <a:blipFill rotWithShape="0">
                <a:blip r:embed="rId4"/>
                <a:stretch>
                  <a:fillRect l="-606" t="-3175" b="-253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Rectangle 13"/>
          <p:cNvSpPr/>
          <p:nvPr/>
        </p:nvSpPr>
        <p:spPr>
          <a:xfrm>
            <a:off x="6139543" y="2039400"/>
            <a:ext cx="2833635" cy="26167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587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Justifying Bulk Diffu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914"/>
          <a:stretch/>
        </p:blipFill>
        <p:spPr>
          <a:xfrm>
            <a:off x="221062" y="845835"/>
            <a:ext cx="3171825" cy="63515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1163" y="845835"/>
            <a:ext cx="4114800" cy="325640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012262" y="1163413"/>
            <a:ext cx="21050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SIMS data of Fe diffusion through polycrystalline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endParaRPr lang="en-US" baseline="-250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46" t="4553"/>
          <a:stretch/>
        </p:blipFill>
        <p:spPr>
          <a:xfrm>
            <a:off x="497287" y="2249262"/>
            <a:ext cx="955786" cy="327369"/>
          </a:xfrm>
          <a:prstGeom prst="rect">
            <a:avLst/>
          </a:prstGeom>
        </p:spPr>
      </p:pic>
      <p:sp>
        <p:nvSpPr>
          <p:cNvPr id="10" name="Oval 9"/>
          <p:cNvSpPr/>
          <p:nvPr/>
        </p:nvSpPr>
        <p:spPr>
          <a:xfrm>
            <a:off x="5812237" y="2205668"/>
            <a:ext cx="2305050" cy="719870"/>
          </a:xfrm>
          <a:prstGeom prst="ellipse">
            <a:avLst/>
          </a:prstGeom>
          <a:solidFill>
            <a:srgbClr val="000000">
              <a:alpha val="20000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364062" y="1030063"/>
            <a:ext cx="619125" cy="450928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678262" y="1363438"/>
            <a:ext cx="594525" cy="84223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11" idx="3"/>
            <a:endCxn id="10" idx="2"/>
          </p:cNvCxnSpPr>
          <p:nvPr/>
        </p:nvCxnSpPr>
        <p:spPr>
          <a:xfrm>
            <a:off x="1983187" y="1255527"/>
            <a:ext cx="3829050" cy="131007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3678637" y="1071510"/>
            <a:ext cx="13620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(Our MD data)</a:t>
            </a:r>
            <a:endParaRPr lang="en-US" sz="1400" b="1" dirty="0"/>
          </a:p>
        </p:txBody>
      </p:sp>
      <p:cxnSp>
        <p:nvCxnSpPr>
          <p:cNvPr id="18" name="Straight Arrow Connector 17"/>
          <p:cNvCxnSpPr>
            <a:stCxn id="16" idx="1"/>
          </p:cNvCxnSpPr>
          <p:nvPr/>
        </p:nvCxnSpPr>
        <p:spPr>
          <a:xfrm flipH="1" flipV="1">
            <a:off x="3497662" y="1225398"/>
            <a:ext cx="180975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1097362" y="2474037"/>
            <a:ext cx="355711" cy="45150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H="1" flipV="1">
            <a:off x="1453073" y="2412946"/>
            <a:ext cx="886514" cy="16368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2402287" y="2396001"/>
            <a:ext cx="1919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Grain size (nm)</a:t>
            </a:r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1479956" y="2806277"/>
            <a:ext cx="3001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GB width (~1nm)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6" cstate="screen">
            <a:lum bright="-20000" contras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511"/>
          <a:stretch/>
        </p:blipFill>
        <p:spPr>
          <a:xfrm>
            <a:off x="273030" y="3384416"/>
            <a:ext cx="4258514" cy="1363166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2402287" y="4102239"/>
            <a:ext cx="501687" cy="645343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5828462" y="4207658"/>
            <a:ext cx="25129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 smtClean="0">
                <a:latin typeface="+mj-lt"/>
              </a:rPr>
              <a:t>A. C. S. </a:t>
            </a:r>
            <a:r>
              <a:rPr lang="en-US" sz="1400" b="1" dirty="0" err="1" smtClean="0">
                <a:latin typeface="+mj-lt"/>
              </a:rPr>
              <a:t>Sabioni</a:t>
            </a:r>
            <a:r>
              <a:rPr lang="en-US" sz="1400" b="1" dirty="0" smtClean="0">
                <a:latin typeface="+mj-lt"/>
              </a:rPr>
              <a:t> et al. </a:t>
            </a:r>
            <a:r>
              <a:rPr lang="en-US" sz="1400" b="1" i="1" dirty="0" smtClean="0"/>
              <a:t>Mat. Sci. Eng. A</a:t>
            </a:r>
            <a:r>
              <a:rPr lang="en-US" sz="1400" b="1" dirty="0" smtClean="0"/>
              <a:t>, 392:254-261 (2005)</a:t>
            </a:r>
            <a:endParaRPr lang="en-US" sz="14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55094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25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The Spinel Diffusion Data, for Completene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2950" y="1123950"/>
            <a:ext cx="4133850" cy="36195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u="sng" dirty="0" smtClean="0"/>
              <a:t>Key points:</a:t>
            </a:r>
          </a:p>
          <a:p>
            <a:endParaRPr lang="en-US" sz="1500" dirty="0"/>
          </a:p>
          <a:p>
            <a:r>
              <a:rPr lang="en-US" sz="2000" dirty="0" smtClean="0"/>
              <a:t>Much lower activation energies, similar </a:t>
            </a:r>
            <a:r>
              <a:rPr lang="en-US" sz="2000" dirty="0" err="1" smtClean="0"/>
              <a:t>prefactors</a:t>
            </a:r>
            <a:endParaRPr lang="en-US" sz="2000" dirty="0" smtClean="0"/>
          </a:p>
          <a:p>
            <a:endParaRPr lang="en-US" sz="1400" dirty="0"/>
          </a:p>
          <a:p>
            <a:r>
              <a:rPr lang="en-US" sz="2000" dirty="0" smtClean="0"/>
              <a:t>Far faster diffusion predicted through spinel than Cr</a:t>
            </a:r>
            <a:r>
              <a:rPr lang="en-US" sz="2000" baseline="-25000" dirty="0" smtClean="0"/>
              <a:t>2</a:t>
            </a:r>
            <a:r>
              <a:rPr lang="en-US" sz="2000" dirty="0" smtClean="0"/>
              <a:t>O</a:t>
            </a:r>
            <a:r>
              <a:rPr lang="en-US" sz="2000" baseline="-25000" dirty="0" smtClean="0"/>
              <a:t>3</a:t>
            </a:r>
          </a:p>
          <a:p>
            <a:endParaRPr lang="en-US" sz="1200" dirty="0"/>
          </a:p>
          <a:p>
            <a:r>
              <a:rPr lang="en-US" sz="2000" i="1" dirty="0" smtClean="0"/>
              <a:t>No tracer experiments to scale to! </a:t>
            </a:r>
            <a:r>
              <a:rPr lang="en-US" sz="2000" b="1" i="1" dirty="0" smtClean="0"/>
              <a:t>Major missing piece of data.</a:t>
            </a:r>
            <a:endParaRPr lang="en-US" sz="2000" b="1" i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85800" y="4245735"/>
            <a:ext cx="40100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Diffusion in </a:t>
            </a:r>
            <a:r>
              <a:rPr lang="en-US" b="1" u="sng" dirty="0" smtClean="0"/>
              <a:t>bulk</a:t>
            </a:r>
            <a:r>
              <a:rPr lang="en-US" b="1" dirty="0" smtClean="0"/>
              <a:t> (</a:t>
            </a:r>
            <a:r>
              <a:rPr lang="en-US" b="1" dirty="0" err="1" smtClean="0"/>
              <a:t>Ni,Fe</a:t>
            </a:r>
            <a:r>
              <a:rPr lang="en-US" b="1" dirty="0" smtClean="0"/>
              <a:t>)Cr</a:t>
            </a:r>
            <a:r>
              <a:rPr lang="en-US" b="1" baseline="-25000" dirty="0" smtClean="0"/>
              <a:t>2</a:t>
            </a:r>
            <a:r>
              <a:rPr lang="en-US" b="1" dirty="0" smtClean="0"/>
              <a:t>O</a:t>
            </a:r>
            <a:r>
              <a:rPr lang="en-US" b="1" baseline="-25000" dirty="0" smtClean="0"/>
              <a:t>4</a:t>
            </a:r>
            <a:endParaRPr lang="en-US" b="1" baseline="-25000" dirty="0"/>
          </a:p>
        </p:txBody>
      </p:sp>
      <p:sp>
        <p:nvSpPr>
          <p:cNvPr id="7" name="TextBox 6"/>
          <p:cNvSpPr txBox="1"/>
          <p:nvPr/>
        </p:nvSpPr>
        <p:spPr>
          <a:xfrm>
            <a:off x="1051725" y="1884176"/>
            <a:ext cx="40100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Diffusion in </a:t>
            </a:r>
            <a:r>
              <a:rPr lang="en-US" b="1" u="sng" dirty="0" smtClean="0"/>
              <a:t>bulk</a:t>
            </a:r>
            <a:r>
              <a:rPr lang="en-US" b="1" dirty="0" smtClean="0"/>
              <a:t> Cr</a:t>
            </a:r>
            <a:r>
              <a:rPr lang="en-US" b="1" baseline="-25000" dirty="0" smtClean="0"/>
              <a:t>2</a:t>
            </a:r>
            <a:r>
              <a:rPr lang="en-US" b="1" dirty="0" smtClean="0"/>
              <a:t>O</a:t>
            </a:r>
            <a:r>
              <a:rPr lang="en-US" b="1" baseline="-25000" dirty="0" smtClean="0"/>
              <a:t>3</a:t>
            </a:r>
            <a:endParaRPr lang="en-US" b="1" baseline="-250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5075" y="765334"/>
            <a:ext cx="4572000" cy="117259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5075" y="3327085"/>
            <a:ext cx="4572000" cy="97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892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ontent Placeholder 2"/>
          <p:cNvSpPr>
            <a:spLocks noGrp="1"/>
          </p:cNvSpPr>
          <p:nvPr>
            <p:ph idx="1"/>
          </p:nvPr>
        </p:nvSpPr>
        <p:spPr>
          <a:xfrm>
            <a:off x="672650" y="777725"/>
            <a:ext cx="7798700" cy="4194494"/>
          </a:xfrm>
        </p:spPr>
        <p:txBody>
          <a:bodyPr>
            <a:normAutofit/>
          </a:bodyPr>
          <a:lstStyle/>
          <a:p>
            <a:r>
              <a:rPr lang="en-US" sz="2000" dirty="0" smtClean="0"/>
              <a:t>Reactor fouling deposits: Causes operational problems like:</a:t>
            </a:r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hat Is Crud? Why Does It Matter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741216" y="1280458"/>
            <a:ext cx="3626787" cy="3259188"/>
            <a:chOff x="5837488" y="1381624"/>
            <a:chExt cx="2623993" cy="4661424"/>
          </a:xfrm>
        </p:grpSpPr>
        <p:sp>
          <p:nvSpPr>
            <p:cNvPr id="7" name="TextBox 2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837488" y="1411369"/>
              <a:ext cx="2623993" cy="4631679"/>
            </a:xfrm>
            <a:prstGeom prst="rect">
              <a:avLst/>
            </a:prstGeom>
            <a:noFill/>
            <a:ln w="28575">
              <a:solidFill>
                <a:srgbClr val="C00000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146908" tIns="146908" rIns="146908" bIns="14690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lnSpc>
                  <a:spcPct val="200000"/>
                </a:lnSpc>
                <a:buClr>
                  <a:srgbClr val="002960"/>
                </a:buClr>
              </a:pPr>
              <a:endParaRPr lang="en-US" sz="2000" b="1" dirty="0">
                <a:latin typeface="+mj-lt"/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>
              <a:off x="6709598" y="2420972"/>
              <a:ext cx="924204" cy="2590800"/>
            </a:xfrm>
            <a:custGeom>
              <a:avLst/>
              <a:gdLst>
                <a:gd name="connsiteX0" fmla="*/ 0 w 924204"/>
                <a:gd name="connsiteY0" fmla="*/ 0 h 2675106"/>
                <a:gd name="connsiteX1" fmla="*/ 924128 w 924204"/>
                <a:gd name="connsiteY1" fmla="*/ 1517515 h 2675106"/>
                <a:gd name="connsiteX2" fmla="*/ 48638 w 924204"/>
                <a:gd name="connsiteY2" fmla="*/ 2675106 h 2675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24204" h="2675106">
                  <a:moveTo>
                    <a:pt x="0" y="0"/>
                  </a:moveTo>
                  <a:cubicBezTo>
                    <a:pt x="458011" y="535832"/>
                    <a:pt x="916022" y="1071664"/>
                    <a:pt x="924128" y="1517515"/>
                  </a:cubicBezTo>
                  <a:cubicBezTo>
                    <a:pt x="932234" y="1963366"/>
                    <a:pt x="291829" y="2464340"/>
                    <a:pt x="48638" y="2675106"/>
                  </a:cubicBezTo>
                </a:path>
              </a:pathLst>
            </a:cu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chemeClr val="tx1"/>
                </a:solidFill>
                <a:latin typeface="+mj-lt"/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6490802" y="5011772"/>
              <a:ext cx="1371600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6490802" y="2344772"/>
              <a:ext cx="0" cy="266700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6277432" y="5011772"/>
              <a:ext cx="133654" cy="30922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endParaRPr lang="en-US" sz="11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7366100" y="5011772"/>
              <a:ext cx="133654" cy="30922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endParaRPr lang="en-US" sz="1100" dirty="0">
                <a:solidFill>
                  <a:schemeClr val="tx1"/>
                </a:solidFill>
                <a:latin typeface="+mj-lt"/>
              </a:endParaRPr>
            </a:p>
          </p:txBody>
        </p:sp>
        <p:pic>
          <p:nvPicPr>
            <p:cNvPr id="13" name="Picture 15"/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971691" y="2420972"/>
              <a:ext cx="457200" cy="259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B8FF"/>
                  </a:solidFill>
                </a14:hiddenFill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7862402" y="4894342"/>
              <a:ext cx="439788" cy="30922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100" b="1" dirty="0" smtClean="0">
                  <a:solidFill>
                    <a:schemeClr val="tx1"/>
                  </a:solidFill>
                  <a:latin typeface="+mj-lt"/>
                </a:rPr>
                <a:t>Power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283233" y="1921446"/>
              <a:ext cx="451386" cy="5093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b="1" dirty="0" smtClean="0">
                  <a:solidFill>
                    <a:schemeClr val="tx1"/>
                  </a:solidFill>
                  <a:latin typeface="+mj-lt"/>
                </a:rPr>
                <a:t>Core</a:t>
              </a:r>
              <a:br>
                <a:rPr lang="en-US" sz="1100" b="1" dirty="0" smtClean="0">
                  <a:solidFill>
                    <a:schemeClr val="tx1"/>
                  </a:solidFill>
                  <a:latin typeface="+mj-lt"/>
                </a:rPr>
              </a:br>
              <a:r>
                <a:rPr lang="en-US" sz="1100" b="1" dirty="0" smtClean="0">
                  <a:solidFill>
                    <a:schemeClr val="tx1"/>
                  </a:solidFill>
                  <a:latin typeface="+mj-lt"/>
                </a:rPr>
                <a:t>Height</a:t>
              </a:r>
              <a:endParaRPr lang="en-US" sz="1100" b="1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837488" y="1381624"/>
              <a:ext cx="2623993" cy="436557"/>
            </a:xfrm>
            <a:prstGeom prst="rect">
              <a:avLst/>
            </a:prstGeom>
            <a:solidFill>
              <a:srgbClr val="C00000">
                <a:alpha val="20000"/>
              </a:srgb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tx1"/>
                  </a:solidFill>
                  <a:latin typeface="+mj-lt"/>
                </a:rPr>
                <a:t>Axial downward power shift</a:t>
              </a:r>
              <a:endParaRPr lang="en-US" sz="1800" b="1" dirty="0">
                <a:solidFill>
                  <a:schemeClr val="tx1"/>
                </a:solidFill>
                <a:latin typeface="+mj-lt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919220" y="5291196"/>
              <a:ext cx="1142057" cy="145902"/>
            </a:xfrm>
            <a:prstGeom prst="rect">
              <a:avLst/>
            </a:prstGeom>
            <a:ln>
              <a:noFill/>
            </a:ln>
          </p:spPr>
        </p:pic>
        <p:sp>
          <p:nvSpPr>
            <p:cNvPr id="18" name="TextBox 17"/>
            <p:cNvSpPr txBox="1"/>
            <p:nvPr/>
          </p:nvSpPr>
          <p:spPr>
            <a:xfrm>
              <a:off x="5971691" y="4967555"/>
              <a:ext cx="982564" cy="30922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100" dirty="0" smtClean="0">
                  <a:solidFill>
                    <a:schemeClr val="tx1"/>
                  </a:solidFill>
                  <a:latin typeface="+mj-lt"/>
                </a:rPr>
                <a:t>BO</a:t>
              </a:r>
              <a:r>
                <a:rPr lang="en-US" sz="1100" baseline="-25000" dirty="0" smtClean="0">
                  <a:solidFill>
                    <a:schemeClr val="tx1"/>
                  </a:solidFill>
                  <a:latin typeface="+mj-lt"/>
                </a:rPr>
                <a:t>3</a:t>
              </a:r>
              <a:r>
                <a:rPr lang="en-US" sz="1100" dirty="0" smtClean="0">
                  <a:solidFill>
                    <a:schemeClr val="tx1"/>
                  </a:solidFill>
                  <a:latin typeface="+mj-lt"/>
                </a:rPr>
                <a:t> Concentration</a:t>
              </a:r>
              <a:endParaRPr lang="en-US" sz="11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19" name="Text Box 13"/>
          <p:cNvSpPr txBox="1">
            <a:spLocks noChangeArrowheads="1"/>
          </p:cNvSpPr>
          <p:nvPr/>
        </p:nvSpPr>
        <p:spPr bwMode="auto">
          <a:xfrm>
            <a:off x="2666880" y="1749674"/>
            <a:ext cx="1787764" cy="4626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817" tIns="45909" rIns="91817" bIns="45909"/>
          <a:lstStyle>
            <a:lvl1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1pPr>
            <a:lvl2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2pPr>
            <a:lvl3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3pPr>
            <a:lvl4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4pPr>
            <a:lvl5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1800" kern="0" dirty="0" smtClean="0">
                <a:solidFill>
                  <a:schemeClr val="tx1"/>
                </a:solidFill>
                <a:latin typeface="+mj-lt"/>
              </a:rPr>
              <a:t>Crud </a:t>
            </a:r>
            <a:r>
              <a:rPr lang="en-US" altLang="en-US" sz="1800" kern="0" dirty="0">
                <a:solidFill>
                  <a:schemeClr val="tx1"/>
                </a:solidFill>
                <a:latin typeface="+mj-lt"/>
              </a:rPr>
              <a:t>induced power shift</a:t>
            </a:r>
          </a:p>
        </p:txBody>
      </p:sp>
      <p:cxnSp>
        <p:nvCxnSpPr>
          <p:cNvPr id="20" name="AutoShape 12"/>
          <p:cNvCxnSpPr>
            <a:cxnSpLocks noChangeShapeType="1"/>
          </p:cNvCxnSpPr>
          <p:nvPr/>
        </p:nvCxnSpPr>
        <p:spPr bwMode="auto">
          <a:xfrm flipH="1">
            <a:off x="3244799" y="2350625"/>
            <a:ext cx="76759" cy="536664"/>
          </a:xfrm>
          <a:prstGeom prst="straightConnector1">
            <a:avLst/>
          </a:prstGeom>
          <a:noFill/>
          <a:ln w="38160">
            <a:solidFill>
              <a:schemeClr val="accent5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pSp>
        <p:nvGrpSpPr>
          <p:cNvPr id="21" name="Group 20"/>
          <p:cNvGrpSpPr/>
          <p:nvPr/>
        </p:nvGrpSpPr>
        <p:grpSpPr>
          <a:xfrm>
            <a:off x="4711032" y="1280458"/>
            <a:ext cx="3626787" cy="3259187"/>
            <a:chOff x="4711032" y="2057400"/>
            <a:chExt cx="3626787" cy="3943617"/>
          </a:xfrm>
        </p:grpSpPr>
        <p:sp>
          <p:nvSpPr>
            <p:cNvPr id="22" name="TextBox 21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711032" y="2057400"/>
              <a:ext cx="3626787" cy="3943617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C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146908" tIns="146908" rIns="146908" bIns="14690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lnSpc>
                  <a:spcPct val="200000"/>
                </a:lnSpc>
                <a:buClr>
                  <a:srgbClr val="002960"/>
                </a:buClr>
              </a:pPr>
              <a:endParaRPr lang="en-US" sz="2000" b="1" dirty="0">
                <a:latin typeface="+mj-lt"/>
              </a:endParaRPr>
            </a:p>
          </p:txBody>
        </p:sp>
        <p:sp>
          <p:nvSpPr>
            <p:cNvPr id="23" name="Text Box 7"/>
            <p:cNvSpPr txBox="1">
              <a:spLocks noChangeArrowheads="1"/>
            </p:cNvSpPr>
            <p:nvPr/>
          </p:nvSpPr>
          <p:spPr bwMode="auto">
            <a:xfrm>
              <a:off x="5419869" y="2565762"/>
              <a:ext cx="2123113" cy="4612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1817" tIns="45909" rIns="91817" bIns="45909"/>
            <a:lstStyle>
              <a:lvl1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1pPr>
              <a:lvl2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2pPr>
              <a:lvl3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3pPr>
              <a:lvl4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4pPr>
              <a:lvl5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9pPr>
            </a:lstStyle>
            <a:p>
              <a:pPr defTabSz="466431" eaLnBrk="0" hangingPunct="0">
                <a:buClr>
                  <a:srgbClr val="000000"/>
                </a:buClr>
                <a:buSzPct val="100000"/>
                <a:tabLst>
                  <a:tab pos="0" algn="l"/>
                  <a:tab pos="184629" algn="l"/>
                  <a:tab pos="370879" algn="l"/>
                  <a:tab pos="557127" algn="l"/>
                  <a:tab pos="743376" algn="l"/>
                  <a:tab pos="929625" algn="l"/>
                  <a:tab pos="1115874" algn="l"/>
                  <a:tab pos="1302122" algn="l"/>
                  <a:tab pos="1488371" algn="l"/>
                  <a:tab pos="1674619" algn="l"/>
                  <a:tab pos="1860869" algn="l"/>
                  <a:tab pos="2047117" algn="l"/>
                  <a:tab pos="2233366" algn="l"/>
                  <a:tab pos="2419615" algn="l"/>
                  <a:tab pos="2605864" algn="l"/>
                  <a:tab pos="2792112" algn="l"/>
                  <a:tab pos="2978361" algn="l"/>
                  <a:tab pos="3164609" algn="l"/>
                  <a:tab pos="3350859" algn="l"/>
                  <a:tab pos="3537107" algn="l"/>
                  <a:tab pos="3723356" algn="l"/>
                </a:tabLst>
                <a:defRPr/>
              </a:pPr>
              <a:r>
                <a:rPr lang="en-US" altLang="en-US" sz="1800" kern="0" dirty="0" smtClean="0">
                  <a:solidFill>
                    <a:schemeClr val="tx1"/>
                  </a:solidFill>
                  <a:latin typeface="+mj-lt"/>
                </a:rPr>
                <a:t>“Leaker” fuel failures</a:t>
              </a:r>
              <a:endParaRPr lang="en-US" altLang="en-US" sz="1800" kern="0" dirty="0">
                <a:solidFill>
                  <a:schemeClr val="tx1"/>
                </a:solidFill>
                <a:latin typeface="+mj-lt"/>
              </a:endParaRPr>
            </a:p>
          </p:txBody>
        </p:sp>
        <p:pic>
          <p:nvPicPr>
            <p:cNvPr id="24" name="Picture 10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6453" y="3319306"/>
              <a:ext cx="2971800" cy="2225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cxnSp>
          <p:nvCxnSpPr>
            <p:cNvPr id="25" name="AutoShape 11"/>
            <p:cNvCxnSpPr>
              <a:cxnSpLocks noChangeShapeType="1"/>
            </p:cNvCxnSpPr>
            <p:nvPr/>
          </p:nvCxnSpPr>
          <p:spPr bwMode="auto">
            <a:xfrm>
              <a:off x="6481426" y="3006026"/>
              <a:ext cx="376574" cy="1128319"/>
            </a:xfrm>
            <a:prstGeom prst="straightConnector1">
              <a:avLst/>
            </a:prstGeom>
            <a:noFill/>
            <a:ln w="38160">
              <a:solidFill>
                <a:schemeClr val="accent5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26" name="TextBox 25"/>
            <p:cNvSpPr txBox="1"/>
            <p:nvPr/>
          </p:nvSpPr>
          <p:spPr>
            <a:xfrm>
              <a:off x="4711032" y="2061559"/>
              <a:ext cx="3626787" cy="409650"/>
            </a:xfrm>
            <a:prstGeom prst="rect">
              <a:avLst/>
            </a:prstGeom>
            <a:solidFill>
              <a:srgbClr val="C00000">
                <a:alpha val="20000"/>
              </a:srgb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chemeClr val="tx1"/>
                  </a:solidFill>
                  <a:latin typeface="+mj-lt"/>
                </a:rPr>
                <a:t>Crud-induced localized corrosion</a:t>
              </a:r>
            </a:p>
          </p:txBody>
        </p:sp>
      </p:grpSp>
      <p:cxnSp>
        <p:nvCxnSpPr>
          <p:cNvPr id="27" name="Straight Connector 26"/>
          <p:cNvCxnSpPr/>
          <p:nvPr/>
        </p:nvCxnSpPr>
        <p:spPr bwMode="auto">
          <a:xfrm>
            <a:off x="1644203" y="2843243"/>
            <a:ext cx="2318197" cy="0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Box 27"/>
          <p:cNvSpPr txBox="1"/>
          <p:nvPr/>
        </p:nvSpPr>
        <p:spPr>
          <a:xfrm>
            <a:off x="4711032" y="4256261"/>
            <a:ext cx="36267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u="sng" dirty="0" smtClean="0">
                <a:solidFill>
                  <a:schemeClr val="tx1"/>
                </a:solidFill>
              </a:rPr>
              <a:t>Image:</a:t>
            </a:r>
            <a:r>
              <a:rPr lang="en-US" sz="1100" b="1" dirty="0" smtClean="0">
                <a:solidFill>
                  <a:schemeClr val="tx1"/>
                </a:solidFill>
              </a:rPr>
              <a:t> D. Wells. EPRI Summer P-TAC Meeting (2013)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41215" y="4122495"/>
            <a:ext cx="362678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u="sng" dirty="0" smtClean="0">
                <a:solidFill>
                  <a:schemeClr val="tx1"/>
                </a:solidFill>
              </a:rPr>
              <a:t>Image:</a:t>
            </a:r>
            <a:r>
              <a:rPr lang="en-US" sz="1100" b="1" dirty="0" smtClean="0">
                <a:solidFill>
                  <a:schemeClr val="tx1"/>
                </a:solidFill>
              </a:rPr>
              <a:t> </a:t>
            </a:r>
            <a:r>
              <a:rPr lang="en-US" sz="1100" b="1" dirty="0">
                <a:solidFill>
                  <a:schemeClr val="tx1"/>
                </a:solidFill>
              </a:rPr>
              <a:t>D. Gaston et al. </a:t>
            </a:r>
            <a:r>
              <a:rPr lang="en-US" sz="1100" b="1" i="1" dirty="0">
                <a:solidFill>
                  <a:schemeClr val="tx1"/>
                </a:solidFill>
              </a:rPr>
              <a:t>Ann. </a:t>
            </a:r>
            <a:r>
              <a:rPr lang="en-US" sz="1100" b="1" i="1" dirty="0" err="1">
                <a:solidFill>
                  <a:schemeClr val="tx1"/>
                </a:solidFill>
              </a:rPr>
              <a:t>Nucl</a:t>
            </a:r>
            <a:r>
              <a:rPr lang="en-US" sz="1100" b="1" i="1" dirty="0">
                <a:solidFill>
                  <a:schemeClr val="tx1"/>
                </a:solidFill>
              </a:rPr>
              <a:t>. </a:t>
            </a:r>
            <a:r>
              <a:rPr lang="en-US" sz="1100" b="1" i="1" dirty="0" err="1">
                <a:solidFill>
                  <a:schemeClr val="tx1"/>
                </a:solidFill>
              </a:rPr>
              <a:t>Ener</a:t>
            </a:r>
            <a:r>
              <a:rPr lang="en-US" sz="1100" b="1" i="1" dirty="0">
                <a:solidFill>
                  <a:schemeClr val="tx1"/>
                </a:solidFill>
              </a:rPr>
              <a:t>.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 err="1">
                <a:solidFill>
                  <a:schemeClr val="tx1"/>
                </a:solidFill>
              </a:rPr>
              <a:t>doi</a:t>
            </a:r>
            <a:r>
              <a:rPr lang="en-US" sz="1100" b="1" dirty="0">
                <a:solidFill>
                  <a:schemeClr val="tx1"/>
                </a:solidFill>
              </a:rPr>
              <a:t>: 10.1016/j.anucene.2014.09.060 (2014)</a:t>
            </a:r>
          </a:p>
        </p:txBody>
      </p:sp>
    </p:spTree>
    <p:extLst>
      <p:ext uri="{BB962C8B-B14F-4D97-AF65-F5344CB8AC3E}">
        <p14:creationId xmlns:p14="http://schemas.microsoft.com/office/powerpoint/2010/main" val="3647731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val 27"/>
          <p:cNvSpPr/>
          <p:nvPr/>
        </p:nvSpPr>
        <p:spPr>
          <a:xfrm>
            <a:off x="3586422" y="2628900"/>
            <a:ext cx="1423728" cy="87775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eed </a:t>
            </a:r>
            <a:r>
              <a:rPr lang="en-US" dirty="0" err="1" smtClean="0"/>
              <a:t>Microscale</a:t>
            </a:r>
            <a:r>
              <a:rPr lang="en-US" dirty="0" smtClean="0"/>
              <a:t> into Engineering Sca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Microscale</a:t>
            </a:r>
            <a:r>
              <a:rPr lang="en-US" dirty="0" smtClean="0"/>
              <a:t> model computes </a:t>
            </a:r>
            <a:r>
              <a:rPr lang="en-US" dirty="0" err="1" smtClean="0"/>
              <a:t>Fickian</a:t>
            </a:r>
            <a:r>
              <a:rPr lang="en-US" dirty="0" smtClean="0"/>
              <a:t> flux, feeds areal release rate up to engineering sca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823963" y="2319075"/>
            <a:ext cx="2057609" cy="1971675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31575">
                <a:schemeClr val="bg1">
                  <a:lumMod val="75000"/>
                </a:schemeClr>
              </a:gs>
              <a:gs pos="15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A600, A690, SS304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3963" y="4290750"/>
            <a:ext cx="20576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Metal</a:t>
            </a:r>
            <a:endParaRPr lang="en-US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2881572" y="4290750"/>
            <a:ext cx="7048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Oxide</a:t>
            </a:r>
            <a:endParaRPr lang="en-US" sz="16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235191" y="1306878"/>
            <a:ext cx="3213334" cy="3408082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823963" y="4290750"/>
            <a:ext cx="331595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823963" y="2080008"/>
            <a:ext cx="0" cy="221074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823963" y="2743200"/>
            <a:ext cx="2057609" cy="6029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2" name="Group 51"/>
          <p:cNvGrpSpPr/>
          <p:nvPr/>
        </p:nvGrpSpPr>
        <p:grpSpPr>
          <a:xfrm>
            <a:off x="2881572" y="2319075"/>
            <a:ext cx="704850" cy="1971675"/>
            <a:chOff x="2881572" y="2319075"/>
            <a:chExt cx="704850" cy="1971675"/>
          </a:xfrm>
        </p:grpSpPr>
        <p:sp>
          <p:nvSpPr>
            <p:cNvPr id="7" name="Rectangle 6"/>
            <p:cNvSpPr/>
            <p:nvPr/>
          </p:nvSpPr>
          <p:spPr>
            <a:xfrm>
              <a:off x="2881572" y="2319075"/>
              <a:ext cx="704850" cy="1971675"/>
            </a:xfrm>
            <a:prstGeom prst="rect">
              <a:avLst/>
            </a:prstGeom>
            <a:gradFill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0" scaled="0"/>
            </a:gra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cxnSp>
          <p:nvCxnSpPr>
            <p:cNvPr id="18" name="Straight Connector 17"/>
            <p:cNvCxnSpPr/>
            <p:nvPr/>
          </p:nvCxnSpPr>
          <p:spPr>
            <a:xfrm>
              <a:off x="2881572" y="2803490"/>
              <a:ext cx="704850" cy="148726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" name="Straight Arrow Connector 19"/>
          <p:cNvCxnSpPr/>
          <p:nvPr/>
        </p:nvCxnSpPr>
        <p:spPr>
          <a:xfrm flipH="1">
            <a:off x="3586422" y="3406391"/>
            <a:ext cx="463064" cy="7636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3743010" y="2803490"/>
                <a:ext cx="1107546" cy="5241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𝐽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𝑥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43010" y="2803490"/>
                <a:ext cx="1107546" cy="524118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Straight Arrow Connector 22"/>
          <p:cNvCxnSpPr/>
          <p:nvPr/>
        </p:nvCxnSpPr>
        <p:spPr>
          <a:xfrm flipV="1">
            <a:off x="572756" y="2743200"/>
            <a:ext cx="251207" cy="70630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/>
              <p:cNvSpPr txBox="1"/>
              <p:nvPr/>
            </p:nvSpPr>
            <p:spPr>
              <a:xfrm>
                <a:off x="50970" y="1738204"/>
                <a:ext cx="200151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𝐶𝑜𝑛𝑐𝑒𝑛𝑡𝑟𝑎𝑡𝑖𝑜𝑛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4" name="TextBox 2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70" y="1738204"/>
                <a:ext cx="2001510" cy="276999"/>
              </a:xfrm>
              <a:prstGeom prst="rect">
                <a:avLst/>
              </a:prstGeom>
              <a:blipFill rotWithShape="0">
                <a:blip r:embed="rId5"/>
                <a:stretch>
                  <a:fillRect l="-2128" t="-2174" r="-3647" b="-326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/>
              <p:cNvSpPr txBox="1"/>
              <p:nvPr/>
            </p:nvSpPr>
            <p:spPr>
              <a:xfrm>
                <a:off x="4198815" y="4152250"/>
                <a:ext cx="18812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5" name="TextBox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98815" y="4152250"/>
                <a:ext cx="188128" cy="276999"/>
              </a:xfrm>
              <a:prstGeom prst="rect">
                <a:avLst/>
              </a:prstGeom>
              <a:blipFill rotWithShape="0">
                <a:blip r:embed="rId6"/>
                <a:stretch>
                  <a:fillRect l="-16129" r="-1290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/>
              <p:cNvSpPr txBox="1"/>
              <p:nvPr/>
            </p:nvSpPr>
            <p:spPr>
              <a:xfrm>
                <a:off x="330755" y="3456634"/>
                <a:ext cx="118500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𝑒𝑡𝑎𝑙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6" name="TextBox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0755" y="3456634"/>
                <a:ext cx="1185003" cy="276999"/>
              </a:xfrm>
              <a:prstGeom prst="rect">
                <a:avLst/>
              </a:prstGeom>
              <a:blipFill rotWithShape="0">
                <a:blip r:embed="rId7"/>
                <a:stretch>
                  <a:fillRect l="-3590" r="-1026" b="-2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" name="Straight Arrow Connector 29"/>
          <p:cNvCxnSpPr>
            <a:stCxn id="28" idx="6"/>
          </p:cNvCxnSpPr>
          <p:nvPr/>
        </p:nvCxnSpPr>
        <p:spPr>
          <a:xfrm>
            <a:off x="5010150" y="3067777"/>
            <a:ext cx="476250" cy="12229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28" idx="6"/>
          </p:cNvCxnSpPr>
          <p:nvPr/>
        </p:nvCxnSpPr>
        <p:spPr>
          <a:xfrm>
            <a:off x="5010150" y="3067777"/>
            <a:ext cx="476250" cy="12309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28" idx="6"/>
          </p:cNvCxnSpPr>
          <p:nvPr/>
        </p:nvCxnSpPr>
        <p:spPr>
          <a:xfrm flipV="1">
            <a:off x="5010150" y="2319075"/>
            <a:ext cx="476250" cy="7487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28" idx="6"/>
          </p:cNvCxnSpPr>
          <p:nvPr/>
        </p:nvCxnSpPr>
        <p:spPr>
          <a:xfrm flipV="1">
            <a:off x="5010150" y="1895475"/>
            <a:ext cx="476250" cy="11723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28" idx="6"/>
          </p:cNvCxnSpPr>
          <p:nvPr/>
        </p:nvCxnSpPr>
        <p:spPr>
          <a:xfrm flipV="1">
            <a:off x="5010150" y="1895475"/>
            <a:ext cx="809625" cy="11723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8" idx="6"/>
          </p:cNvCxnSpPr>
          <p:nvPr/>
        </p:nvCxnSpPr>
        <p:spPr>
          <a:xfrm flipV="1">
            <a:off x="5010150" y="2319075"/>
            <a:ext cx="809625" cy="7487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8" idx="6"/>
          </p:cNvCxnSpPr>
          <p:nvPr/>
        </p:nvCxnSpPr>
        <p:spPr>
          <a:xfrm>
            <a:off x="5010150" y="3067777"/>
            <a:ext cx="809625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28" idx="6"/>
          </p:cNvCxnSpPr>
          <p:nvPr/>
        </p:nvCxnSpPr>
        <p:spPr>
          <a:xfrm flipV="1">
            <a:off x="5010150" y="2952750"/>
            <a:ext cx="1438275" cy="1150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5076825" y="3067777"/>
            <a:ext cx="3371700" cy="7612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stCxn id="28" idx="6"/>
          </p:cNvCxnSpPr>
          <p:nvPr/>
        </p:nvCxnSpPr>
        <p:spPr>
          <a:xfrm>
            <a:off x="5010150" y="3067777"/>
            <a:ext cx="2514600" cy="13614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stCxn id="28" idx="6"/>
          </p:cNvCxnSpPr>
          <p:nvPr/>
        </p:nvCxnSpPr>
        <p:spPr>
          <a:xfrm>
            <a:off x="5010150" y="3067777"/>
            <a:ext cx="1114425" cy="152684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endCxn id="7" idx="0"/>
          </p:cNvCxnSpPr>
          <p:nvPr/>
        </p:nvCxnSpPr>
        <p:spPr>
          <a:xfrm flipH="1">
            <a:off x="3233997" y="2080008"/>
            <a:ext cx="214053" cy="239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2418508" y="1738204"/>
            <a:ext cx="26583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Prescribed thickness vs. time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876590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5075" y="59860"/>
            <a:ext cx="9159075" cy="569550"/>
          </a:xfrm>
        </p:spPr>
        <p:txBody>
          <a:bodyPr>
            <a:normAutofit fontScale="90000"/>
          </a:bodyPr>
          <a:lstStyle/>
          <a:p>
            <a:r>
              <a:rPr lang="en-US" dirty="0" err="1" smtClean="0"/>
              <a:t>Microscale</a:t>
            </a:r>
            <a:r>
              <a:rPr lang="en-US" dirty="0" smtClean="0"/>
              <a:t> Model Assumptions: Oxide Thicknes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44026" y="865911"/>
            <a:ext cx="8877300" cy="3732885"/>
          </a:xfrm>
        </p:spPr>
        <p:txBody>
          <a:bodyPr/>
          <a:lstStyle/>
          <a:p>
            <a:r>
              <a:rPr lang="en-US" dirty="0" smtClean="0"/>
              <a:t>Used experimental data from oxidation of A600, A690, 304SS at PWR conditions (units removed for proprietary concerns)</a:t>
            </a:r>
          </a:p>
          <a:p>
            <a:pPr lvl="1"/>
            <a:r>
              <a:rPr lang="en-US" dirty="0" smtClean="0"/>
              <a:t>325-350C, 1200ppm H</a:t>
            </a:r>
            <a:r>
              <a:rPr lang="en-US" baseline="-25000" dirty="0" smtClean="0"/>
              <a:t>3</a:t>
            </a:r>
            <a:r>
              <a:rPr lang="en-US" dirty="0" smtClean="0"/>
              <a:t>BO</a:t>
            </a:r>
            <a:r>
              <a:rPr lang="en-US" baseline="-25000" dirty="0" smtClean="0"/>
              <a:t>3</a:t>
            </a:r>
            <a:r>
              <a:rPr lang="en-US" dirty="0" smtClean="0"/>
              <a:t>, 2ppm </a:t>
            </a:r>
            <a:r>
              <a:rPr lang="en-US" dirty="0" err="1" smtClean="0"/>
              <a:t>LiOH</a:t>
            </a:r>
            <a:r>
              <a:rPr lang="en-US" dirty="0" smtClean="0"/>
              <a:t>, pH ~ 7.2, 25-30 cc/kg H</a:t>
            </a:r>
            <a:r>
              <a:rPr lang="en-US" baseline="-25000" dirty="0" smtClean="0"/>
              <a:t>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-15074" y="4264452"/>
            <a:ext cx="64254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latin typeface="+mj-lt"/>
              </a:rPr>
              <a:t>Program on Technology Innovation: Review of Oxidation and Surface Film Formation Studies</a:t>
            </a:r>
          </a:p>
          <a:p>
            <a:r>
              <a:rPr lang="en-US" sz="1400" i="1" dirty="0">
                <a:latin typeface="+mj-lt"/>
              </a:rPr>
              <a:t>on Austenitic Alloys in Light Water Reactor Coolants. </a:t>
            </a:r>
            <a:r>
              <a:rPr lang="en-US" sz="1400" dirty="0">
                <a:latin typeface="+mj-lt"/>
              </a:rPr>
              <a:t>EPRI, Palo Alto, CA: 2015. </a:t>
            </a:r>
            <a:r>
              <a:rPr lang="en-US" sz="1400" dirty="0" smtClean="0">
                <a:latin typeface="+mj-lt"/>
              </a:rPr>
              <a:t>3002005478</a:t>
            </a:r>
            <a:endParaRPr lang="en-US" sz="1400" dirty="0"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3407538"/>
            <a:ext cx="64579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+mj-lt"/>
              </a:rPr>
              <a:t>L. </a:t>
            </a:r>
            <a:r>
              <a:rPr lang="en-US" sz="1400" dirty="0" err="1">
                <a:latin typeface="+mj-lt"/>
              </a:rPr>
              <a:t>Guinard</a:t>
            </a:r>
            <a:r>
              <a:rPr lang="en-US" sz="1400" dirty="0">
                <a:latin typeface="+mj-lt"/>
              </a:rPr>
              <a:t>, C. </a:t>
            </a:r>
            <a:r>
              <a:rPr lang="en-US" sz="1400" dirty="0" err="1">
                <a:latin typeface="+mj-lt"/>
              </a:rPr>
              <a:t>Gabet</a:t>
            </a:r>
            <a:r>
              <a:rPr lang="en-US" sz="1400" dirty="0">
                <a:latin typeface="+mj-lt"/>
              </a:rPr>
              <a:t>, T. </a:t>
            </a:r>
            <a:r>
              <a:rPr lang="en-US" sz="1400" dirty="0" err="1">
                <a:latin typeface="+mj-lt"/>
              </a:rPr>
              <a:t>Czerwiec</a:t>
            </a:r>
            <a:r>
              <a:rPr lang="en-US" sz="1400" dirty="0">
                <a:latin typeface="+mj-lt"/>
              </a:rPr>
              <a:t>, E. </a:t>
            </a:r>
            <a:r>
              <a:rPr lang="en-US" sz="1400" dirty="0" err="1">
                <a:latin typeface="+mj-lt"/>
              </a:rPr>
              <a:t>Riquelme</a:t>
            </a:r>
            <a:r>
              <a:rPr lang="en-US" sz="1400" dirty="0">
                <a:latin typeface="+mj-lt"/>
              </a:rPr>
              <a:t>, and O. </a:t>
            </a:r>
            <a:r>
              <a:rPr lang="en-US" sz="1400" dirty="0" err="1">
                <a:latin typeface="+mj-lt"/>
              </a:rPr>
              <a:t>Kerrec</a:t>
            </a:r>
            <a:r>
              <a:rPr lang="en-US" sz="1400" dirty="0">
                <a:latin typeface="+mj-lt"/>
              </a:rPr>
              <a:t>, “Effect of </a:t>
            </a:r>
            <a:r>
              <a:rPr lang="en-US" sz="1400" dirty="0" smtClean="0">
                <a:latin typeface="+mj-lt"/>
              </a:rPr>
              <a:t>surface passivation </a:t>
            </a:r>
            <a:r>
              <a:rPr lang="en-US" sz="1400" dirty="0">
                <a:latin typeface="+mj-lt"/>
              </a:rPr>
              <a:t>of Inconel 690 on oxidation in primary circuit conditions,” presented at the</a:t>
            </a:r>
          </a:p>
          <a:p>
            <a:r>
              <a:rPr lang="en-US" sz="1400" dirty="0">
                <a:latin typeface="+mj-lt"/>
              </a:rPr>
              <a:t>Water Chemistry of Nuclear Reactor Systems 8, BNES, vol. 1, p. 67, 2000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-15075" y="2432373"/>
            <a:ext cx="56824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+mj-lt"/>
              </a:rPr>
              <a:t>A. </a:t>
            </a:r>
            <a:r>
              <a:rPr lang="en-US" sz="1400" dirty="0" err="1">
                <a:latin typeface="+mj-lt"/>
              </a:rPr>
              <a:t>Machet</a:t>
            </a:r>
            <a:r>
              <a:rPr lang="en-US" sz="1400" dirty="0">
                <a:latin typeface="+mj-lt"/>
              </a:rPr>
              <a:t>, A. </a:t>
            </a:r>
            <a:r>
              <a:rPr lang="en-US" sz="1400" dirty="0" err="1">
                <a:latin typeface="+mj-lt"/>
              </a:rPr>
              <a:t>Galtayries</a:t>
            </a:r>
            <a:r>
              <a:rPr lang="en-US" sz="1400" dirty="0">
                <a:latin typeface="+mj-lt"/>
              </a:rPr>
              <a:t>, S. </a:t>
            </a:r>
            <a:r>
              <a:rPr lang="en-US" sz="1400" dirty="0" err="1">
                <a:latin typeface="+mj-lt"/>
              </a:rPr>
              <a:t>Zanna</a:t>
            </a:r>
            <a:r>
              <a:rPr lang="en-US" sz="1400" dirty="0">
                <a:latin typeface="+mj-lt"/>
              </a:rPr>
              <a:t>, P. </a:t>
            </a:r>
            <a:r>
              <a:rPr lang="en-US" sz="1400" dirty="0" err="1">
                <a:latin typeface="+mj-lt"/>
              </a:rPr>
              <a:t>Jolivet</a:t>
            </a:r>
            <a:r>
              <a:rPr lang="en-US" sz="1400" dirty="0">
                <a:latin typeface="+mj-lt"/>
              </a:rPr>
              <a:t>, M. Foucault, P. </a:t>
            </a:r>
            <a:r>
              <a:rPr lang="en-US" sz="1400" dirty="0" err="1">
                <a:latin typeface="+mj-lt"/>
              </a:rPr>
              <a:t>Combrade</a:t>
            </a:r>
            <a:r>
              <a:rPr lang="en-US" sz="1400" dirty="0">
                <a:latin typeface="+mj-lt"/>
              </a:rPr>
              <a:t>, P. Scott, </a:t>
            </a:r>
            <a:r>
              <a:rPr lang="en-US" sz="1400" dirty="0" smtClean="0">
                <a:latin typeface="+mj-lt"/>
              </a:rPr>
              <a:t>and P</a:t>
            </a:r>
            <a:r>
              <a:rPr lang="en-US" sz="1400" dirty="0">
                <a:latin typeface="+mj-lt"/>
              </a:rPr>
              <a:t>. Marcus, “Kinetics of passivation of a nickel-base alloy in high temperature water</a:t>
            </a:r>
            <a:r>
              <a:rPr lang="en-US" sz="1400" dirty="0" smtClean="0">
                <a:latin typeface="+mj-lt"/>
              </a:rPr>
              <a:t>,” presented </a:t>
            </a:r>
            <a:r>
              <a:rPr lang="en-US" sz="1400" dirty="0">
                <a:latin typeface="+mj-lt"/>
              </a:rPr>
              <a:t>at the EUROCORR 2004, Nice (France), 2004.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526" b="15190"/>
          <a:stretch/>
        </p:blipFill>
        <p:spPr>
          <a:xfrm>
            <a:off x="6848475" y="2035938"/>
            <a:ext cx="1905231" cy="232651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934200" y="4362450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ime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 rot="16200000">
            <a:off x="5866408" y="3050969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hickn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360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 smtClean="0"/>
              <a:t>Compute local metal release rate at every location &amp; time step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Diffusivities, oxide thicknesses are functions of space &amp; time</a:t>
            </a:r>
          </a:p>
          <a:p>
            <a:pPr lvl="1"/>
            <a:r>
              <a:rPr lang="en-US" dirty="0" smtClean="0"/>
              <a:t>Temperature profiles prescribed along loop, also functions of space &amp; time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3920247" y="1935314"/>
            <a:ext cx="1608354" cy="79286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utting it All Togethe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1861129" y="1979968"/>
                <a:ext cx="5909631" cy="75687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𝑹𝑹</m:t>
                          </m:r>
                        </m:e>
                        <m:sub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𝒒𝒑</m:t>
                          </m:r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𝒎𝒐𝒍𝒆𝒔</m:t>
                              </m:r>
                            </m:num>
                            <m:den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𝒎</m:t>
                              </m:r>
                              <m:r>
                                <a:rPr lang="en-US" b="1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𝒔</m:t>
                              </m:r>
                            </m:den>
                          </m:f>
                        </m:e>
                      </m:d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𝑫</m:t>
                              </m:r>
                            </m:e>
                            <m:sub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𝒒𝒑</m:t>
                              </m:r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𝑻</m:t>
                              </m:r>
                            </m:e>
                          </m:d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  <m:sSub>
                            <m:sSub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𝒒𝒑</m:t>
                              </m:r>
                            </m:e>
                          </m:d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𝒘𝒑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𝒒𝒑</m:t>
                              </m:r>
                            </m:e>
                          </m:d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𝑵𝑫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[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𝒒𝒑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]</m:t>
                          </m:r>
                        </m:num>
                        <m:den>
                          <m:sSub>
                            <m:sSub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𝒐𝒙𝒊𝒅𝒆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𝒒𝒑</m:t>
                              </m:r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b="1" i="1" smtClean="0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e>
                          </m:d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𝟔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.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𝟎𝟐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sSup>
                            <m:sSup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𝟏𝟎</m:t>
                              </m:r>
                            </m:e>
                            <m:sup>
                              <m:r>
                                <a:rPr lang="en-US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𝟐𝟑</m:t>
                              </m:r>
                            </m:sup>
                          </m:sSup>
                          <m:f>
                            <m:fPr>
                              <m:ctrlPr>
                                <a:rPr lang="en-US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𝒂𝒕𝒐𝒎𝒔</m:t>
                              </m:r>
                            </m:num>
                            <m:den>
                              <m:r>
                                <a:rPr lang="en-US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𝒎𝒐𝒍𝒆</m:t>
                              </m:r>
                            </m:den>
                          </m:f>
                        </m:den>
                      </m:f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61129" y="1979968"/>
                <a:ext cx="5909631" cy="756874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" name="Straight Arrow Connector 7"/>
          <p:cNvCxnSpPr/>
          <p:nvPr/>
        </p:nvCxnSpPr>
        <p:spPr>
          <a:xfrm>
            <a:off x="1128409" y="1770434"/>
            <a:ext cx="732720" cy="42801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1624519" y="2518345"/>
            <a:ext cx="573932" cy="44633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2470826" y="1917383"/>
            <a:ext cx="0" cy="28106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920247" y="2728180"/>
            <a:ext cx="301557" cy="35548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5904689" y="2728180"/>
            <a:ext cx="301558" cy="34767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 flipV="1">
            <a:off x="7811309" y="2212313"/>
            <a:ext cx="476661" cy="1438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>
            <a:off x="6322981" y="1804310"/>
            <a:ext cx="567350" cy="17565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5194571" y="1628653"/>
            <a:ext cx="38910" cy="3513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3691648" y="1628653"/>
            <a:ext cx="423153" cy="3513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128893" y="1565982"/>
            <a:ext cx="11916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ocal release rate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293047" y="2783981"/>
            <a:ext cx="1495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pecies </a:t>
            </a:r>
            <a:r>
              <a:rPr lang="en-US" i="1" dirty="0" err="1" smtClean="0"/>
              <a:t>i</a:t>
            </a:r>
            <a:r>
              <a:rPr lang="en-US" dirty="0" smtClean="0"/>
              <a:t> (Fe or Ni for now)</a:t>
            </a:r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1310800" y="1614870"/>
            <a:ext cx="22884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Quadrature point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2631331" y="3070583"/>
            <a:ext cx="24319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Prescribed oxide thickness vs. time &amp; type</a:t>
            </a:r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528601" y="3070583"/>
            <a:ext cx="2154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vogadro’s number</a:t>
            </a:r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8287969" y="1917383"/>
            <a:ext cx="10603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tomic number density</a:t>
            </a:r>
            <a:endParaRPr 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6892048" y="1565982"/>
            <a:ext cx="28891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ocal wetted perimeter</a:t>
            </a:r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410997" y="1245538"/>
            <a:ext cx="38769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ncentration of species </a:t>
            </a:r>
            <a:r>
              <a:rPr lang="en-US" i="1" dirty="0" err="1" smtClean="0"/>
              <a:t>i</a:t>
            </a:r>
            <a:r>
              <a:rPr lang="en-US" dirty="0" smtClean="0"/>
              <a:t> in local metal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651753" y="1227157"/>
            <a:ext cx="33876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smtClean="0"/>
              <a:t>Our MD diffusivities</a:t>
            </a:r>
            <a:endParaRPr lang="en-US" dirty="0"/>
          </a:p>
        </p:txBody>
      </p:sp>
      <p:cxnSp>
        <p:nvCxnSpPr>
          <p:cNvPr id="40" name="Straight Arrow Connector 39"/>
          <p:cNvCxnSpPr/>
          <p:nvPr/>
        </p:nvCxnSpPr>
        <p:spPr>
          <a:xfrm flipV="1">
            <a:off x="2631331" y="2728180"/>
            <a:ext cx="1288916" cy="342403"/>
          </a:xfrm>
          <a:prstGeom prst="straightConnector1">
            <a:avLst/>
          </a:prstGeom>
          <a:ln>
            <a:solidFill>
              <a:srgbClr val="4348A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1820288" y="2915243"/>
            <a:ext cx="9253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Diffusion Flux (m</a:t>
            </a:r>
            <a:r>
              <a:rPr lang="en-US" sz="1400" b="1" baseline="30000" dirty="0" smtClean="0"/>
              <a:t>2</a:t>
            </a:r>
            <a:r>
              <a:rPr lang="en-US" sz="1400" b="1" dirty="0" smtClean="0"/>
              <a:t>/s)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199187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25" grpId="0"/>
      <p:bldP spid="26" grpId="0"/>
      <p:bldP spid="27" grpId="0"/>
      <p:bldP spid="29" grpId="0"/>
      <p:bldP spid="30" grpId="0"/>
      <p:bldP spid="31" grpId="0"/>
      <p:bldP spid="32" grpId="0"/>
      <p:bldP spid="34" grpId="0"/>
      <p:bldP spid="37" grpId="0"/>
      <p:bldP spid="41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12741"/>
          <a:stretch/>
        </p:blipFill>
        <p:spPr>
          <a:xfrm>
            <a:off x="2743200" y="858562"/>
            <a:ext cx="6400800" cy="25348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EC 4-Loop PWR, A600,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 Assum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68879"/>
            <a:ext cx="8229600" cy="3386244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u="sng" dirty="0" smtClean="0"/>
              <a:t>Key Points:</a:t>
            </a:r>
          </a:p>
          <a:p>
            <a:endParaRPr lang="en-US" sz="1100" dirty="0"/>
          </a:p>
          <a:p>
            <a:r>
              <a:rPr lang="en-US" sz="2000" dirty="0" smtClean="0"/>
              <a:t>Slightly</a:t>
            </a:r>
            <a:br>
              <a:rPr lang="en-US" sz="2000" dirty="0" smtClean="0"/>
            </a:br>
            <a:r>
              <a:rPr lang="en-US" sz="2000" dirty="0" smtClean="0"/>
              <a:t>super-</a:t>
            </a:r>
            <a:br>
              <a:rPr lang="en-US" sz="2000" dirty="0" smtClean="0"/>
            </a:br>
            <a:r>
              <a:rPr lang="en-US" sz="2000" dirty="0" smtClean="0"/>
              <a:t>parabolic</a:t>
            </a:r>
            <a:br>
              <a:rPr lang="en-US" sz="2000" dirty="0" smtClean="0"/>
            </a:br>
            <a:r>
              <a:rPr lang="en-US" sz="2000" dirty="0" smtClean="0"/>
              <a:t>release rates</a:t>
            </a:r>
            <a:br>
              <a:rPr lang="en-US" sz="2000" dirty="0" smtClean="0"/>
            </a:br>
            <a:r>
              <a:rPr lang="en-US" sz="2000" dirty="0" smtClean="0"/>
              <a:t>(exponent &gt;0.5)</a:t>
            </a:r>
          </a:p>
          <a:p>
            <a:endParaRPr lang="en-US" sz="1100" dirty="0"/>
          </a:p>
          <a:p>
            <a:r>
              <a:rPr lang="en-US" sz="2000" dirty="0" smtClean="0"/>
              <a:t>WAY too little metal released: Further points to Cr</a:t>
            </a:r>
            <a:r>
              <a:rPr lang="en-US" sz="2000" baseline="-25000" dirty="0" smtClean="0"/>
              <a:t>2</a:t>
            </a:r>
            <a:r>
              <a:rPr lang="en-US" sz="2000" dirty="0" smtClean="0"/>
              <a:t>O</a:t>
            </a:r>
            <a:r>
              <a:rPr lang="en-US" sz="2000" baseline="-25000" dirty="0" smtClean="0"/>
              <a:t>3</a:t>
            </a:r>
            <a:r>
              <a:rPr lang="en-US" sz="2000" dirty="0" smtClean="0"/>
              <a:t> being not fully protective in its actual state on SG tubes</a:t>
            </a:r>
          </a:p>
          <a:p>
            <a:pPr lvl="1"/>
            <a:r>
              <a:rPr lang="en-US" sz="1600" dirty="0" smtClean="0"/>
              <a:t>“Islands” of Cr</a:t>
            </a:r>
            <a:r>
              <a:rPr lang="en-US" sz="1600" baseline="-25000" dirty="0" smtClean="0"/>
              <a:t>2</a:t>
            </a:r>
            <a:r>
              <a:rPr lang="en-US" sz="1600" dirty="0" smtClean="0"/>
              <a:t>O</a:t>
            </a:r>
            <a:r>
              <a:rPr lang="en-US" sz="1600" baseline="-25000" dirty="0" smtClean="0"/>
              <a:t>3</a:t>
            </a:r>
            <a:r>
              <a:rPr lang="en-US" sz="1600" dirty="0" smtClean="0"/>
              <a:t> observed on Ni-based alloys are likely not fully formed, allow for fast diffusion in between</a:t>
            </a:r>
            <a:endParaRPr lang="en-US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710236" y="1316404"/>
            <a:ext cx="619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1D1D8E"/>
                </a:solidFill>
                <a:latin typeface="Albertus Extra Bold" panose="020E0802040304020204" pitchFamily="34" charset="0"/>
              </a:rPr>
              <a:t>Fe</a:t>
            </a:r>
            <a:endParaRPr lang="en-US" b="1" dirty="0">
              <a:solidFill>
                <a:srgbClr val="1D1D8E"/>
              </a:solidFill>
              <a:latin typeface="Albertus Extra Bold" panose="020E08020403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710237" y="2233718"/>
            <a:ext cx="619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6FF"/>
                </a:solidFill>
                <a:latin typeface="Albertus Extra Bold" panose="020E0802040304020204" pitchFamily="34" charset="0"/>
              </a:rPr>
              <a:t>Ni</a:t>
            </a:r>
            <a:endParaRPr lang="en-US" b="1" dirty="0">
              <a:solidFill>
                <a:srgbClr val="FF06FF"/>
              </a:solidFill>
              <a:latin typeface="Albertus Extra Bold" panose="020E08020403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4246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43200" y="780116"/>
            <a:ext cx="6400800" cy="26418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EC 4-Loop PWR, A600, Spinel Assum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18726"/>
            <a:ext cx="8229600" cy="335783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u="sng" dirty="0" smtClean="0"/>
              <a:t>Key Points:</a:t>
            </a:r>
          </a:p>
          <a:p>
            <a:endParaRPr lang="en-US" sz="1200" dirty="0"/>
          </a:p>
          <a:p>
            <a:r>
              <a:rPr lang="en-US" sz="2000" dirty="0" smtClean="0"/>
              <a:t>Super-</a:t>
            </a:r>
            <a:br>
              <a:rPr lang="en-US" sz="2000" dirty="0" smtClean="0"/>
            </a:br>
            <a:r>
              <a:rPr lang="en-US" sz="2000" dirty="0" smtClean="0"/>
              <a:t>parabolic</a:t>
            </a:r>
            <a:br>
              <a:rPr lang="en-US" sz="2000" dirty="0" smtClean="0"/>
            </a:br>
            <a:r>
              <a:rPr lang="en-US" sz="2000" dirty="0" smtClean="0"/>
              <a:t>release rates</a:t>
            </a:r>
          </a:p>
          <a:p>
            <a:endParaRPr lang="en-US" sz="1100" dirty="0"/>
          </a:p>
          <a:p>
            <a:r>
              <a:rPr lang="en-US" sz="2000" dirty="0" smtClean="0"/>
              <a:t>Ni/Fe ratio roughly unity in the first fuel cycle</a:t>
            </a:r>
          </a:p>
          <a:p>
            <a:endParaRPr lang="en-US" sz="1100" dirty="0"/>
          </a:p>
          <a:p>
            <a:r>
              <a:rPr lang="en-US" sz="2000" dirty="0" smtClean="0"/>
              <a:t>~20kg total metal release, correct order of magnitude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6257925" y="1776935"/>
            <a:ext cx="619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1D1D8E"/>
                </a:solidFill>
                <a:latin typeface="Albertus Extra Bold" panose="020E0802040304020204" pitchFamily="34" charset="0"/>
              </a:rPr>
              <a:t>Fe</a:t>
            </a:r>
            <a:endParaRPr lang="en-US" b="1" dirty="0">
              <a:solidFill>
                <a:srgbClr val="1D1D8E"/>
              </a:solidFill>
              <a:latin typeface="Albertus Extra Bold" panose="020E0802040304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495925" y="1190836"/>
            <a:ext cx="619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6FF"/>
                </a:solidFill>
                <a:latin typeface="Albertus Extra Bold" panose="020E0802040304020204" pitchFamily="34" charset="0"/>
              </a:rPr>
              <a:t>Ni</a:t>
            </a:r>
            <a:endParaRPr lang="en-US" b="1" dirty="0">
              <a:solidFill>
                <a:srgbClr val="FF06FF"/>
              </a:solidFill>
              <a:latin typeface="Albertus Extra Bold" panose="020E08020403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4308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t="12322"/>
          <a:stretch/>
        </p:blipFill>
        <p:spPr>
          <a:xfrm>
            <a:off x="2743200" y="803973"/>
            <a:ext cx="6400800" cy="26770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EC 4-Loop PWR, A690, Spinel Assum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0975" y="977704"/>
            <a:ext cx="8229600" cy="3881506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u="sng" dirty="0" smtClean="0"/>
              <a:t>Key Points:</a:t>
            </a:r>
          </a:p>
          <a:p>
            <a:endParaRPr lang="en-US" sz="1200" dirty="0"/>
          </a:p>
          <a:p>
            <a:r>
              <a:rPr lang="en-US" sz="2000" dirty="0" smtClean="0"/>
              <a:t>Almost</a:t>
            </a:r>
            <a:br>
              <a:rPr lang="en-US" sz="2000" dirty="0" smtClean="0"/>
            </a:br>
            <a:r>
              <a:rPr lang="en-US" sz="2000" dirty="0" smtClean="0"/>
              <a:t>linear</a:t>
            </a:r>
            <a:br>
              <a:rPr lang="en-US" sz="2000" dirty="0" smtClean="0"/>
            </a:br>
            <a:r>
              <a:rPr lang="en-US" sz="2000" dirty="0" smtClean="0"/>
              <a:t>release rates!</a:t>
            </a:r>
          </a:p>
          <a:p>
            <a:endParaRPr lang="en-US" sz="1100" dirty="0"/>
          </a:p>
          <a:p>
            <a:r>
              <a:rPr lang="en-US" sz="2000" dirty="0" smtClean="0"/>
              <a:t>Metal release is a</a:t>
            </a:r>
            <a:br>
              <a:rPr lang="en-US" sz="2000" dirty="0" smtClean="0"/>
            </a:br>
            <a:r>
              <a:rPr lang="en-US" sz="2000" dirty="0" smtClean="0"/>
              <a:t>pure function of oxide</a:t>
            </a:r>
            <a:br>
              <a:rPr lang="en-US" sz="2000" dirty="0" smtClean="0"/>
            </a:br>
            <a:r>
              <a:rPr lang="en-US" sz="2000" dirty="0" smtClean="0"/>
              <a:t>growth rates, plant</a:t>
            </a:r>
            <a:br>
              <a:rPr lang="en-US" sz="2000" dirty="0" smtClean="0"/>
            </a:br>
            <a:r>
              <a:rPr lang="en-US" sz="2000" dirty="0" smtClean="0"/>
              <a:t>geometry, and temperature</a:t>
            </a:r>
            <a:br>
              <a:rPr lang="en-US" sz="2000" dirty="0" smtClean="0"/>
            </a:br>
            <a:r>
              <a:rPr lang="en-US" sz="2000" dirty="0" smtClean="0"/>
              <a:t>for identical oxide phases</a:t>
            </a:r>
          </a:p>
          <a:p>
            <a:endParaRPr lang="en-US" sz="1100" dirty="0"/>
          </a:p>
          <a:p>
            <a:r>
              <a:rPr lang="en-US" sz="2000" dirty="0" smtClean="0"/>
              <a:t>Ni/Fe ratio roughly two in the first cycle, should increase with time</a:t>
            </a:r>
          </a:p>
          <a:p>
            <a:endParaRPr lang="en-US" sz="1100" dirty="0"/>
          </a:p>
          <a:p>
            <a:r>
              <a:rPr lang="en-US" sz="2000" dirty="0" smtClean="0"/>
              <a:t>~50kg total metal release, </a:t>
            </a:r>
            <a:r>
              <a:rPr lang="en-US" sz="2000" i="1" dirty="0" smtClean="0"/>
              <a:t>more</a:t>
            </a:r>
            <a:r>
              <a:rPr lang="en-US" sz="2000" dirty="0" smtClean="0"/>
              <a:t> crud predicted than for A600 plants</a:t>
            </a:r>
          </a:p>
          <a:p>
            <a:pPr lvl="1"/>
            <a:r>
              <a:rPr lang="en-US" sz="1600" b="1" dirty="0" smtClean="0"/>
              <a:t>This is an artifact of the model, not reality. We can learn from it though…</a:t>
            </a:r>
            <a:endParaRPr lang="en-US" sz="1600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562600" y="2446003"/>
            <a:ext cx="619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1D1D8E"/>
                </a:solidFill>
                <a:latin typeface="Albertus Extra Bold" panose="020E0802040304020204" pitchFamily="34" charset="0"/>
              </a:rPr>
              <a:t>Fe</a:t>
            </a:r>
            <a:endParaRPr lang="en-US" b="1" dirty="0">
              <a:solidFill>
                <a:srgbClr val="1D1D8E"/>
              </a:solidFill>
              <a:latin typeface="Albertus Extra Bold" panose="020E0802040304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019800" y="1223179"/>
            <a:ext cx="619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6FF"/>
                </a:solidFill>
                <a:latin typeface="Albertus Extra Bold" panose="020E0802040304020204" pitchFamily="34" charset="0"/>
              </a:rPr>
              <a:t>Ni</a:t>
            </a:r>
            <a:endParaRPr lang="en-US" b="1" dirty="0">
              <a:solidFill>
                <a:srgbClr val="FF06FF"/>
              </a:solidFill>
              <a:latin typeface="Albertus Extra Bold" panose="020E08020403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441786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hat Can Integrated Predictions Tell U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MD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 data is likely correct (with tracer validation)</a:t>
            </a:r>
          </a:p>
          <a:p>
            <a:endParaRPr lang="en-US" dirty="0"/>
          </a:p>
          <a:p>
            <a:r>
              <a:rPr lang="en-US" dirty="0" smtClean="0"/>
              <a:t>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 is likely not fully formed, though “islands” may be more</a:t>
            </a:r>
            <a:br>
              <a:rPr lang="en-US" dirty="0" smtClean="0"/>
            </a:br>
            <a:r>
              <a:rPr lang="en-US" dirty="0" smtClean="0"/>
              <a:t>complete in A690</a:t>
            </a:r>
          </a:p>
          <a:p>
            <a:endParaRPr lang="en-US" dirty="0"/>
          </a:p>
          <a:p>
            <a:r>
              <a:rPr lang="en-US" dirty="0" smtClean="0"/>
              <a:t>Ni/Fe ratios on par with</a:t>
            </a:r>
            <a:br>
              <a:rPr lang="en-US" dirty="0" smtClean="0"/>
            </a:br>
            <a:r>
              <a:rPr lang="en-US" dirty="0" smtClean="0"/>
              <a:t>plant observations</a:t>
            </a:r>
          </a:p>
          <a:p>
            <a:endParaRPr lang="en-US" dirty="0"/>
          </a:p>
          <a:p>
            <a:r>
              <a:rPr lang="en-US" dirty="0" smtClean="0"/>
              <a:t>A690 plants </a:t>
            </a:r>
            <a:r>
              <a:rPr lang="en-US" i="1" dirty="0" smtClean="0"/>
              <a:t>predicted</a:t>
            </a:r>
            <a:r>
              <a:rPr lang="en-US" dirty="0" smtClean="0"/>
              <a:t> to</a:t>
            </a:r>
            <a:br>
              <a:rPr lang="en-US" dirty="0" smtClean="0"/>
            </a:br>
            <a:r>
              <a:rPr lang="en-US" dirty="0" smtClean="0"/>
              <a:t>release more crud</a:t>
            </a:r>
          </a:p>
          <a:p>
            <a:pPr lvl="1"/>
            <a:r>
              <a:rPr lang="en-US" dirty="0" smtClean="0"/>
              <a:t>Not consistent with existing</a:t>
            </a:r>
            <a:br>
              <a:rPr lang="en-US" dirty="0" smtClean="0"/>
            </a:br>
            <a:r>
              <a:rPr lang="en-US" dirty="0" smtClean="0"/>
              <a:t>measurements and dat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4800" y="1905571"/>
            <a:ext cx="4572000" cy="258722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114800" y="4492791"/>
            <a:ext cx="45053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Image: ANT International </a:t>
            </a:r>
            <a:r>
              <a:rPr lang="en-US" sz="1100" b="1" dirty="0"/>
              <a:t>Crud in PWR/VVER </a:t>
            </a:r>
            <a:r>
              <a:rPr lang="en-US" sz="1100" b="1" dirty="0" smtClean="0"/>
              <a:t>coolant, p. 4-55 (2014)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174520276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Major Data Gaps – Near Term Future 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61738"/>
            <a:ext cx="4124325" cy="3732885"/>
          </a:xfrm>
        </p:spPr>
        <p:txBody>
          <a:bodyPr/>
          <a:lstStyle/>
          <a:p>
            <a:r>
              <a:rPr lang="en-US" dirty="0" smtClean="0"/>
              <a:t>Tracer diffusion experiments</a:t>
            </a:r>
            <a:br>
              <a:rPr lang="en-US" dirty="0" smtClean="0"/>
            </a:br>
            <a:r>
              <a:rPr lang="en-US" dirty="0" smtClean="0"/>
              <a:t>for (</a:t>
            </a:r>
            <a:r>
              <a:rPr lang="en-US" dirty="0" err="1" smtClean="0"/>
              <a:t>Fe,Ni</a:t>
            </a:r>
            <a:r>
              <a:rPr lang="en-US" dirty="0" smtClean="0"/>
              <a:t>)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4</a:t>
            </a:r>
            <a:r>
              <a:rPr lang="en-US" dirty="0" smtClean="0"/>
              <a:t> system</a:t>
            </a:r>
          </a:p>
          <a:p>
            <a:pPr lvl="1"/>
            <a:r>
              <a:rPr lang="en-US" dirty="0" smtClean="0"/>
              <a:t>Needed to find </a:t>
            </a:r>
            <a:r>
              <a:rPr lang="el-GR" dirty="0" smtClean="0"/>
              <a:t>Δ</a:t>
            </a:r>
            <a:r>
              <a:rPr lang="en-US" dirty="0" err="1" smtClean="0"/>
              <a:t>H</a:t>
            </a:r>
            <a:r>
              <a:rPr lang="en-US" baseline="-25000" dirty="0" err="1" smtClean="0"/>
              <a:t>f</a:t>
            </a:r>
            <a:endParaRPr lang="en-US" baseline="-25000" dirty="0" smtClean="0"/>
          </a:p>
          <a:p>
            <a:endParaRPr lang="en-US" baseline="-25000" dirty="0"/>
          </a:p>
          <a:p>
            <a:endParaRPr lang="en-US" baseline="-25000" dirty="0" smtClean="0"/>
          </a:p>
          <a:p>
            <a:endParaRPr lang="en-US" baseline="-25000" dirty="0"/>
          </a:p>
          <a:p>
            <a:pPr lvl="1"/>
            <a:endParaRPr lang="en-US" baseline="-25000" dirty="0" smtClean="0"/>
          </a:p>
          <a:p>
            <a:pPr marL="457200" lvl="1" indent="0">
              <a:buNone/>
            </a:pPr>
            <a:endParaRPr lang="en-US" baseline="-25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45550" y="1029615"/>
            <a:ext cx="4124325" cy="37328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Times"/>
                <a:ea typeface="+mn-ea"/>
                <a:cs typeface="Time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Times"/>
                <a:ea typeface="+mn-ea"/>
                <a:cs typeface="Time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Times"/>
                <a:ea typeface="+mn-ea"/>
                <a:cs typeface="Time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Times"/>
                <a:ea typeface="+mn-ea"/>
                <a:cs typeface="Time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Times"/>
                <a:ea typeface="+mn-ea"/>
                <a:cs typeface="Time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TEM analysis of SG tubes from autoclaves &amp; plants</a:t>
            </a:r>
          </a:p>
          <a:p>
            <a:pPr lvl="1"/>
            <a:r>
              <a:rPr lang="en-US" dirty="0" smtClean="0"/>
              <a:t>Phase identification often done using EDX, no phase info!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579"/>
          <a:stretch/>
        </p:blipFill>
        <p:spPr>
          <a:xfrm>
            <a:off x="213525" y="2045985"/>
            <a:ext cx="4114800" cy="271651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635899" y="2496913"/>
            <a:ext cx="21050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SIMS data of Fe diffusion through polycrystalline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endParaRPr lang="en-US" baseline="-25000" dirty="0"/>
          </a:p>
        </p:txBody>
      </p:sp>
      <p:sp>
        <p:nvSpPr>
          <p:cNvPr id="9" name="Rectangle 8"/>
          <p:cNvSpPr/>
          <p:nvPr/>
        </p:nvSpPr>
        <p:spPr>
          <a:xfrm>
            <a:off x="785863" y="3857351"/>
            <a:ext cx="22621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 smtClean="0">
                <a:latin typeface="Times" panose="02020603060405020304" pitchFamily="18" charset="0"/>
              </a:rPr>
              <a:t>A. C. S. </a:t>
            </a:r>
            <a:r>
              <a:rPr lang="en-US" sz="1200" dirty="0" err="1" smtClean="0">
                <a:latin typeface="Times" panose="02020603060405020304" pitchFamily="18" charset="0"/>
              </a:rPr>
              <a:t>Sabioni</a:t>
            </a:r>
            <a:r>
              <a:rPr lang="en-US" sz="1200" dirty="0" smtClean="0">
                <a:latin typeface="Times" panose="02020603060405020304" pitchFamily="18" charset="0"/>
              </a:rPr>
              <a:t> et al. </a:t>
            </a:r>
            <a:r>
              <a:rPr lang="en-US" sz="1200" i="1" dirty="0" smtClean="0">
                <a:latin typeface="Times" panose="02020603060405020304" pitchFamily="18" charset="0"/>
              </a:rPr>
              <a:t>Mat. Sci. Eng. A</a:t>
            </a:r>
            <a:r>
              <a:rPr lang="en-US" sz="1200" dirty="0" smtClean="0">
                <a:latin typeface="Times" panose="02020603060405020304" pitchFamily="18" charset="0"/>
              </a:rPr>
              <a:t>, 392:254-261 (2005)</a:t>
            </a:r>
            <a:endParaRPr lang="en-US" sz="1200" dirty="0">
              <a:latin typeface="Times" panose="02020603060405020304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24487" y="817959"/>
            <a:ext cx="2743200" cy="2159006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126675" y="2919077"/>
            <a:ext cx="262033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Z X </a:t>
            </a:r>
            <a:r>
              <a:rPr lang="en-US" sz="1200" b="1" dirty="0" smtClean="0"/>
              <a:t>Xia et al. </a:t>
            </a:r>
            <a:r>
              <a:rPr lang="en-US" sz="1200" b="1" i="1" dirty="0" smtClean="0"/>
              <a:t>Sci. Rep.</a:t>
            </a:r>
            <a:r>
              <a:rPr lang="en-US" sz="1200" b="1" dirty="0" smtClean="0"/>
              <a:t>, 5:13027 (2015)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738473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Major Data Gaps – Near </a:t>
            </a:r>
            <a:r>
              <a:rPr lang="en-US" dirty="0"/>
              <a:t>Term Future </a:t>
            </a:r>
            <a:r>
              <a:rPr lang="en-US" dirty="0" smtClean="0"/>
              <a:t>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61738"/>
            <a:ext cx="4124325" cy="3732885"/>
          </a:xfrm>
        </p:spPr>
        <p:txBody>
          <a:bodyPr/>
          <a:lstStyle/>
          <a:p>
            <a:r>
              <a:rPr lang="en-US" b="1" dirty="0" smtClean="0"/>
              <a:t>Low-temperature, long-timescale MD simulations</a:t>
            </a:r>
          </a:p>
          <a:p>
            <a:pPr lvl="1"/>
            <a:r>
              <a:rPr lang="en-US" dirty="0" smtClean="0"/>
              <a:t>Search for low-T fast diffusion</a:t>
            </a:r>
          </a:p>
          <a:p>
            <a:pPr lvl="1"/>
            <a:r>
              <a:rPr lang="en-US" dirty="0" smtClean="0"/>
              <a:t>Check spinel off-stoichiometry diffusivities are representative</a:t>
            </a:r>
          </a:p>
          <a:p>
            <a:endParaRPr lang="en-US" baseline="-25000" dirty="0"/>
          </a:p>
          <a:p>
            <a:endParaRPr lang="en-US" baseline="-25000" dirty="0" smtClean="0"/>
          </a:p>
          <a:p>
            <a:endParaRPr lang="en-US" baseline="-25000" dirty="0"/>
          </a:p>
          <a:p>
            <a:pPr lvl="1"/>
            <a:endParaRPr lang="en-US" baseline="-25000" dirty="0" smtClean="0"/>
          </a:p>
          <a:p>
            <a:pPr marL="457200" lvl="1" indent="0">
              <a:buNone/>
            </a:pPr>
            <a:endParaRPr lang="en-US" baseline="-25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33924" y="1272396"/>
            <a:ext cx="4124325" cy="373288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Times"/>
                <a:ea typeface="+mn-ea"/>
                <a:cs typeface="Time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Times"/>
                <a:ea typeface="+mn-ea"/>
                <a:cs typeface="Time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Times"/>
                <a:ea typeface="+mn-ea"/>
                <a:cs typeface="Time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Times"/>
                <a:ea typeface="+mn-ea"/>
                <a:cs typeface="Time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Times"/>
                <a:ea typeface="+mn-ea"/>
                <a:cs typeface="Time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b="1" dirty="0" smtClean="0"/>
              <a:t>Crud from A690 plants</a:t>
            </a:r>
          </a:p>
          <a:p>
            <a:pPr lvl="1"/>
            <a:r>
              <a:rPr lang="en-US" dirty="0" smtClean="0"/>
              <a:t>Must wait until fuel cycle 3 to account for historical crud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4037" y="1074251"/>
            <a:ext cx="2514600" cy="2457209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4605337" y="750372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200" b="1" dirty="0" smtClean="0">
                <a:latin typeface="Times" panose="02020603060405020304" pitchFamily="18" charset="0"/>
              </a:rPr>
              <a:t>R. Yang et al. J. </a:t>
            </a:r>
            <a:r>
              <a:rPr lang="en-US" sz="1200" b="1" dirty="0" err="1" smtClean="0">
                <a:latin typeface="Times" panose="02020603060405020304" pitchFamily="18" charset="0"/>
              </a:rPr>
              <a:t>Nucl</a:t>
            </a:r>
            <a:r>
              <a:rPr lang="en-US" sz="1200" b="1" dirty="0" smtClean="0">
                <a:latin typeface="Times" panose="02020603060405020304" pitchFamily="18" charset="0"/>
              </a:rPr>
              <a:t>. Sci. Technol., </a:t>
            </a:r>
            <a:r>
              <a:rPr lang="en-US" sz="1200" b="1" dirty="0">
                <a:latin typeface="Times" panose="02020603060405020304" pitchFamily="18" charset="0"/>
              </a:rPr>
              <a:t>43:9, </a:t>
            </a:r>
            <a:r>
              <a:rPr lang="en-US" sz="1200" b="1" dirty="0" smtClean="0">
                <a:latin typeface="Times" panose="02020603060405020304" pitchFamily="18" charset="0"/>
              </a:rPr>
              <a:t>951-959 </a:t>
            </a:r>
            <a:r>
              <a:rPr lang="en-US" sz="1200" b="1" dirty="0">
                <a:latin typeface="Times" panose="02020603060405020304" pitchFamily="18" charset="0"/>
              </a:rPr>
              <a:t>(2006</a:t>
            </a:r>
            <a:r>
              <a:rPr lang="en-US" sz="1200" b="1" dirty="0" smtClean="0">
                <a:latin typeface="Times" panose="02020603060405020304" pitchFamily="18" charset="0"/>
              </a:rPr>
              <a:t>)</a:t>
            </a:r>
            <a:endParaRPr lang="en-US" sz="1200" b="1" dirty="0">
              <a:latin typeface="Times" panose="02020603060405020304" pitchFamily="18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1793204" y="1366282"/>
            <a:ext cx="986570" cy="3963376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57199" y="3841255"/>
            <a:ext cx="412432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>
                <a:latin typeface="Times" panose="02020603060405020304" pitchFamily="18" charset="0"/>
              </a:rPr>
              <a:t>Schematic of the parallel replica dynamics method for accelerated MD simulations.</a:t>
            </a:r>
            <a:r>
              <a:rPr lang="en-US" sz="1200" b="1" dirty="0" smtClean="0">
                <a:latin typeface="Times" panose="02020603060405020304" pitchFamily="18" charset="0"/>
              </a:rPr>
              <a:t/>
            </a:r>
            <a:br>
              <a:rPr lang="en-US" sz="1200" b="1" dirty="0" smtClean="0">
                <a:latin typeface="Times" panose="02020603060405020304" pitchFamily="18" charset="0"/>
              </a:rPr>
            </a:br>
            <a:r>
              <a:rPr lang="en-US" sz="1200" b="1" dirty="0" smtClean="0">
                <a:latin typeface="Times" panose="02020603060405020304" pitchFamily="18" charset="0"/>
              </a:rPr>
              <a:t/>
            </a:r>
            <a:br>
              <a:rPr lang="en-US" sz="1200" b="1" dirty="0" smtClean="0">
                <a:latin typeface="Times" panose="02020603060405020304" pitchFamily="18" charset="0"/>
              </a:rPr>
            </a:br>
            <a:r>
              <a:rPr lang="en-US" sz="1200" b="1" dirty="0" smtClean="0">
                <a:latin typeface="Times" panose="02020603060405020304" pitchFamily="18" charset="0"/>
              </a:rPr>
              <a:t>A. Voter et al., </a:t>
            </a:r>
            <a:r>
              <a:rPr lang="en-US" sz="1200" b="1" dirty="0" err="1" smtClean="0">
                <a:latin typeface="Times" panose="02020603060405020304" pitchFamily="18" charset="0"/>
              </a:rPr>
              <a:t>Annu</a:t>
            </a:r>
            <a:r>
              <a:rPr lang="en-US" sz="1200" b="1" dirty="0">
                <a:latin typeface="Times" panose="02020603060405020304" pitchFamily="18" charset="0"/>
              </a:rPr>
              <a:t>. Rev. Mater. Res</a:t>
            </a:r>
            <a:r>
              <a:rPr lang="en-US" sz="1200" b="1" dirty="0" smtClean="0">
                <a:latin typeface="Times" panose="02020603060405020304" pitchFamily="18" charset="0"/>
              </a:rPr>
              <a:t>. 32:321–46 (2002).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74825427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Thanks to Our Sponsor, Acknowledg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This research was supported by: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P-TAC (PWR Technical Advisory Committee), contract numbers </a:t>
            </a:r>
            <a:r>
              <a:rPr lang="en-US" dirty="0"/>
              <a:t>10002739 and </a:t>
            </a:r>
            <a:r>
              <a:rPr lang="en-US" dirty="0" smtClean="0"/>
              <a:t>10004433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Thanks to Kenny Epperson for accurate PWR segment lengths, wetted perimeters &amp; area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1026" name="Picture 2" descr="http://www.epri.com/_layouts/15/images/EPRI.Public/epri-logo.jpg?1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0" y="1379537"/>
            <a:ext cx="5486400" cy="1233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7440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irst: An Overall System Vie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ere does Crud come/go in a PWR primary loop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6466" y="1306878"/>
            <a:ext cx="3213334" cy="3408082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 bwMode="auto">
          <a:xfrm flipH="1" flipV="1">
            <a:off x="5772151" y="4013004"/>
            <a:ext cx="1343024" cy="26015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115175" y="3933825"/>
            <a:ext cx="15143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ld Leg: 304SS, ~290C</a:t>
            </a:r>
            <a:endParaRPr lang="en-US" dirty="0"/>
          </a:p>
        </p:txBody>
      </p:sp>
      <p:cxnSp>
        <p:nvCxnSpPr>
          <p:cNvPr id="14" name="Straight Arrow Connector 13"/>
          <p:cNvCxnSpPr/>
          <p:nvPr/>
        </p:nvCxnSpPr>
        <p:spPr bwMode="auto">
          <a:xfrm flipH="1" flipV="1">
            <a:off x="5924551" y="2013610"/>
            <a:ext cx="1343024" cy="26015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7267575" y="1934431"/>
            <a:ext cx="18703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team Generator: Alloy 600/690, 330C (Inlet) to 290C (Outlet)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 bwMode="auto">
          <a:xfrm flipV="1">
            <a:off x="2257425" y="4013005"/>
            <a:ext cx="1360372" cy="18097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95250" y="3571781"/>
            <a:ext cx="2133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smtClean="0"/>
              <a:t>Core: Contains fuel rods with sub-cooled boiling, removing particulates</a:t>
            </a:r>
            <a:endParaRPr lang="en-US" dirty="0"/>
          </a:p>
        </p:txBody>
      </p:sp>
      <p:cxnSp>
        <p:nvCxnSpPr>
          <p:cNvPr id="20" name="Straight Arrow Connector 19"/>
          <p:cNvCxnSpPr/>
          <p:nvPr/>
        </p:nvCxnSpPr>
        <p:spPr bwMode="auto">
          <a:xfrm>
            <a:off x="2228850" y="2150264"/>
            <a:ext cx="2577364" cy="1146413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714375" y="1528066"/>
            <a:ext cx="1485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smtClean="0"/>
              <a:t>Hot Leg: 304SS, ~330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321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5" grpId="0"/>
      <p:bldP spid="19" grpId="0"/>
      <p:bldP spid="2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5179" y="896987"/>
            <a:ext cx="5682106" cy="38643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Engineering Scale: What Is Missing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6091" y="861738"/>
            <a:ext cx="8229600" cy="3732885"/>
          </a:xfrm>
        </p:spPr>
        <p:txBody>
          <a:bodyPr/>
          <a:lstStyle/>
          <a:p>
            <a:r>
              <a:rPr lang="en-US" dirty="0" smtClean="0"/>
              <a:t>Ultimate goal:</a:t>
            </a:r>
            <a:br>
              <a:rPr lang="en-US" dirty="0" smtClean="0"/>
            </a:br>
            <a:r>
              <a:rPr lang="en-US" dirty="0" smtClean="0"/>
              <a:t>Predict the</a:t>
            </a:r>
            <a:br>
              <a:rPr lang="en-US" dirty="0" smtClean="0"/>
            </a:br>
            <a:r>
              <a:rPr lang="en-US" dirty="0" smtClean="0"/>
              <a:t>Ni &amp; Fe metal</a:t>
            </a:r>
            <a:br>
              <a:rPr lang="en-US" dirty="0" smtClean="0"/>
            </a:br>
            <a:r>
              <a:rPr lang="en-US" dirty="0" smtClean="0"/>
              <a:t>release terms</a:t>
            </a:r>
          </a:p>
          <a:p>
            <a:pPr lvl="1"/>
            <a:r>
              <a:rPr lang="en-US" dirty="0" smtClean="0"/>
              <a:t>Acts as source</a:t>
            </a:r>
            <a:br>
              <a:rPr lang="en-US" dirty="0" smtClean="0"/>
            </a:br>
            <a:r>
              <a:rPr lang="en-US" dirty="0" smtClean="0"/>
              <a:t>term for crud</a:t>
            </a:r>
            <a:br>
              <a:rPr lang="en-US" dirty="0" smtClean="0"/>
            </a:br>
            <a:r>
              <a:rPr lang="en-US" dirty="0" smtClean="0"/>
              <a:t>deposition codes</a:t>
            </a:r>
            <a:br>
              <a:rPr lang="en-US" dirty="0" smtClean="0"/>
            </a:br>
            <a:r>
              <a:rPr lang="en-US" dirty="0" smtClean="0"/>
              <a:t>(MAMBA</a:t>
            </a:r>
            <a:r>
              <a:rPr lang="en-US" baseline="30000" dirty="0" smtClean="0"/>
              <a:t>1</a:t>
            </a:r>
            <a:r>
              <a:rPr lang="en-US" dirty="0" smtClean="0"/>
              <a:t>, BOA</a:t>
            </a:r>
            <a:r>
              <a:rPr lang="en-US" baseline="30000" dirty="0" smtClean="0"/>
              <a:t>2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00484" y="4238154"/>
            <a:ext cx="31161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aseline="30000" dirty="0" smtClean="0"/>
              <a:t>1 </a:t>
            </a:r>
            <a:r>
              <a:rPr lang="en-US" sz="1400" dirty="0" smtClean="0"/>
              <a:t>Developed by CASL</a:t>
            </a:r>
          </a:p>
          <a:p>
            <a:r>
              <a:rPr lang="en-US" sz="1400" baseline="30000" dirty="0" smtClean="0"/>
              <a:t>2 </a:t>
            </a:r>
            <a:r>
              <a:rPr lang="en-US" sz="1400" dirty="0" smtClean="0"/>
              <a:t>Developed by EPRI</a:t>
            </a:r>
            <a:endParaRPr lang="en-US" sz="1400" dirty="0"/>
          </a:p>
        </p:txBody>
      </p:sp>
      <p:sp>
        <p:nvSpPr>
          <p:cNvPr id="8" name="Rectangle 7"/>
          <p:cNvSpPr/>
          <p:nvPr/>
        </p:nvSpPr>
        <p:spPr>
          <a:xfrm>
            <a:off x="3788232" y="964644"/>
            <a:ext cx="5329878" cy="34245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400" b="1" dirty="0" smtClean="0">
                <a:solidFill>
                  <a:srgbClr val="0070C0"/>
                </a:solidFill>
              </a:rPr>
              <a:t>? ? ?</a:t>
            </a:r>
            <a:endParaRPr lang="en-US" sz="54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802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9860"/>
            <a:ext cx="9144000" cy="56955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Delineating Scales and </a:t>
            </a:r>
            <a:r>
              <a:rPr lang="en-US" dirty="0" err="1" smtClean="0"/>
              <a:t>Interscale</a:t>
            </a:r>
            <a:r>
              <a:rPr lang="en-US" dirty="0" smtClean="0"/>
              <a:t> Communica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457200" y="1244148"/>
            <a:ext cx="2667000" cy="3014870"/>
            <a:chOff x="3733800" y="2590800"/>
            <a:chExt cx="1752600" cy="1981200"/>
          </a:xfrm>
        </p:grpSpPr>
        <p:sp>
          <p:nvSpPr>
            <p:cNvPr id="7" name="TextBox 6"/>
            <p:cNvSpPr txBox="1"/>
            <p:nvPr/>
          </p:nvSpPr>
          <p:spPr>
            <a:xfrm>
              <a:off x="3783874" y="2611961"/>
              <a:ext cx="1639793" cy="4651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tx1"/>
                  </a:solidFill>
                </a:rPr>
                <a:t>Molecular Dynamics (LAMMPS, Sandia)</a:t>
              </a:r>
              <a:endParaRPr lang="en-US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3733800" y="2590800"/>
              <a:ext cx="1752600" cy="1981200"/>
            </a:xfrm>
            <a:prstGeom prst="rect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82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258125" y="1236880"/>
            <a:ext cx="2680239" cy="3029835"/>
            <a:chOff x="3258125" y="2322730"/>
            <a:chExt cx="2680239" cy="3029835"/>
          </a:xfrm>
        </p:grpSpPr>
        <p:grpSp>
          <p:nvGrpSpPr>
            <p:cNvPr id="12" name="Group 11"/>
            <p:cNvGrpSpPr/>
            <p:nvPr/>
          </p:nvGrpSpPr>
          <p:grpSpPr>
            <a:xfrm>
              <a:off x="3258125" y="2322730"/>
              <a:ext cx="2680239" cy="3029835"/>
              <a:chOff x="5562600" y="2590800"/>
              <a:chExt cx="1752600" cy="1981200"/>
            </a:xfrm>
          </p:grpSpPr>
          <p:sp>
            <p:nvSpPr>
              <p:cNvPr id="15" name="TextBox 14"/>
              <p:cNvSpPr txBox="1"/>
              <p:nvPr/>
            </p:nvSpPr>
            <p:spPr>
              <a:xfrm>
                <a:off x="5609871" y="3895721"/>
                <a:ext cx="1679107" cy="6641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b="1" dirty="0" smtClean="0">
                    <a:solidFill>
                      <a:schemeClr val="tx1"/>
                    </a:solidFill>
                  </a:rPr>
                  <a:t>MOOSE </a:t>
                </a:r>
                <a:r>
                  <a:rPr lang="en-US" sz="2000" b="1" dirty="0" err="1" smtClean="0">
                    <a:solidFill>
                      <a:schemeClr val="tx1"/>
                    </a:solidFill>
                  </a:rPr>
                  <a:t>Mesoscale</a:t>
                </a:r>
                <a:r>
                  <a:rPr lang="en-US" sz="2000" b="1" dirty="0" smtClean="0">
                    <a:solidFill>
                      <a:schemeClr val="tx1"/>
                    </a:solidFill>
                  </a:rPr>
                  <a:t> Oxidation, Diffusion Path Analysis</a:t>
                </a:r>
                <a:endParaRPr lang="en-US" sz="20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 bwMode="auto">
              <a:xfrm>
                <a:off x="5562600" y="2590800"/>
                <a:ext cx="1752600" cy="1981200"/>
              </a:xfrm>
              <a:prstGeom prst="rect">
                <a:avLst/>
              </a:pr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18256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buNone/>
                  <a:tabLst/>
                </a:pPr>
                <a:endParaRPr kumimoji="0" lang="en-US" sz="2400" b="0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Times New Roman" panose="02020603050405020304" pitchFamily="18" charset="0"/>
                  <a:ea typeface="SimSun" panose="02010600030101010101" pitchFamily="2" charset="-122"/>
                </a:endParaRPr>
              </a:p>
            </p:txBody>
          </p:sp>
        </p:grp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1253" r="14231"/>
            <a:stretch/>
          </p:blipFill>
          <p:spPr>
            <a:xfrm>
              <a:off x="3319986" y="2953648"/>
              <a:ext cx="2560320" cy="1262624"/>
            </a:xfrm>
            <a:prstGeom prst="rect">
              <a:avLst/>
            </a:prstGeom>
          </p:spPr>
        </p:pic>
        <p:sp>
          <p:nvSpPr>
            <p:cNvPr id="14" name="Rectangle 13"/>
            <p:cNvSpPr/>
            <p:nvPr/>
          </p:nvSpPr>
          <p:spPr>
            <a:xfrm>
              <a:off x="3519702" y="2405581"/>
              <a:ext cx="218927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. </a:t>
              </a:r>
              <a:r>
                <a:rPr lang="en-US" sz="1200" b="1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roitman</a:t>
              </a:r>
              <a:r>
                <a:rPr lang="en-US" sz="12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R. Becker et al. PRICM-8</a:t>
              </a:r>
              <a:r>
                <a:rPr lang="en-US" sz="12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, 2013.</a:t>
              </a:r>
              <a:endPara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072289" y="1248605"/>
            <a:ext cx="2669866" cy="3018109"/>
            <a:chOff x="7391400" y="2590801"/>
            <a:chExt cx="1752600" cy="1981200"/>
          </a:xfrm>
        </p:grpSpPr>
        <p:sp>
          <p:nvSpPr>
            <p:cNvPr id="18" name="TextBox 17"/>
            <p:cNvSpPr txBox="1"/>
            <p:nvPr/>
          </p:nvSpPr>
          <p:spPr>
            <a:xfrm>
              <a:off x="7391400" y="2630687"/>
              <a:ext cx="1752599" cy="4646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tx1"/>
                  </a:solidFill>
                </a:rPr>
                <a:t>MOOSE </a:t>
              </a:r>
              <a:r>
                <a:rPr lang="en-US" sz="2000" b="1" dirty="0" err="1" smtClean="0">
                  <a:solidFill>
                    <a:schemeClr val="tx1"/>
                  </a:solidFill>
                </a:rPr>
                <a:t>MultiApps</a:t>
              </a:r>
              <a:r>
                <a:rPr lang="en-US" sz="2000" b="1" dirty="0" smtClean="0">
                  <a:solidFill>
                    <a:schemeClr val="tx1"/>
                  </a:solidFill>
                </a:rPr>
                <a:t>, Transfers, RELAP-7</a:t>
              </a:r>
              <a:endParaRPr lang="en-US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7391400" y="2590801"/>
              <a:ext cx="1752600" cy="1981200"/>
            </a:xfrm>
            <a:prstGeom prst="rect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82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endParaRPr>
            </a:p>
          </p:txBody>
        </p:sp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7563" y="2097925"/>
            <a:ext cx="2453037" cy="1616825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6066085" y="3735483"/>
            <a:ext cx="26760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. Gaston et al., INL </a:t>
            </a:r>
            <a:r>
              <a:rPr lang="en-US" sz="12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ultiphysics</a:t>
            </a: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Group, 2013.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cxnSp>
        <p:nvCxnSpPr>
          <p:cNvPr id="23" name="Elbow Connector 22"/>
          <p:cNvCxnSpPr/>
          <p:nvPr/>
        </p:nvCxnSpPr>
        <p:spPr>
          <a:xfrm rot="5400000" flipH="1" flipV="1">
            <a:off x="2965974" y="2841764"/>
            <a:ext cx="10869" cy="2823640"/>
          </a:xfrm>
          <a:prstGeom prst="bentConnector3">
            <a:avLst>
              <a:gd name="adj1" fmla="val -2103229"/>
            </a:avLst>
          </a:prstGeom>
          <a:ln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Elbow Connector 24"/>
          <p:cNvCxnSpPr>
            <a:stCxn id="16" idx="0"/>
            <a:endCxn id="19" idx="0"/>
          </p:cNvCxnSpPr>
          <p:nvPr/>
        </p:nvCxnSpPr>
        <p:spPr>
          <a:xfrm rot="16200000" flipH="1">
            <a:off x="5996870" y="-161746"/>
            <a:ext cx="11725" cy="2808977"/>
          </a:xfrm>
          <a:prstGeom prst="bentConnector3">
            <a:avLst>
              <a:gd name="adj1" fmla="val -194968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/>
          <p:cNvCxnSpPr/>
          <p:nvPr/>
        </p:nvCxnSpPr>
        <p:spPr>
          <a:xfrm rot="5400000" flipH="1">
            <a:off x="6282849" y="2860991"/>
            <a:ext cx="18565" cy="2792882"/>
          </a:xfrm>
          <a:prstGeom prst="bentConnector3">
            <a:avLst>
              <a:gd name="adj1" fmla="val -1231349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995535" y="4474145"/>
            <a:ext cx="3981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re-computed diffusivity relations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4987033" y="4454780"/>
            <a:ext cx="3981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calculate environmental conditions</a:t>
            </a:r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4405485" y="683442"/>
            <a:ext cx="3981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alculate local Fe, Ni release rates</a:t>
            </a:r>
            <a:endParaRPr lang="en-US" dirty="0"/>
          </a:p>
        </p:txBody>
      </p:sp>
      <p:pic>
        <p:nvPicPr>
          <p:cNvPr id="31" name="Picture 30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980" y="2005545"/>
            <a:ext cx="2124276" cy="2157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8764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29" grpId="0"/>
      <p:bldP spid="3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536"/>
          <a:stretch/>
        </p:blipFill>
        <p:spPr bwMode="auto">
          <a:xfrm>
            <a:off x="4043528" y="870084"/>
            <a:ext cx="4631055" cy="3513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bservations of Crud from PW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ostly NiFe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4</a:t>
            </a:r>
            <a:r>
              <a:rPr lang="en-US" dirty="0" smtClean="0"/>
              <a:t> crystallites</a:t>
            </a:r>
          </a:p>
          <a:p>
            <a:endParaRPr lang="en-US" dirty="0"/>
          </a:p>
          <a:p>
            <a:r>
              <a:rPr lang="en-US" dirty="0" smtClean="0"/>
              <a:t>Some </a:t>
            </a:r>
            <a:r>
              <a:rPr lang="en-US" dirty="0" err="1" smtClean="0"/>
              <a:t>NiO</a:t>
            </a:r>
            <a:r>
              <a:rPr lang="en-US" dirty="0" smtClean="0"/>
              <a:t>, Fe</a:t>
            </a:r>
            <a:r>
              <a:rPr lang="en-US" baseline="-25000" dirty="0" smtClean="0"/>
              <a:t>3</a:t>
            </a:r>
            <a:r>
              <a:rPr lang="en-US" dirty="0" smtClean="0"/>
              <a:t>O</a:t>
            </a:r>
            <a:r>
              <a:rPr lang="en-US" baseline="-25000" dirty="0" smtClean="0"/>
              <a:t>4</a:t>
            </a:r>
          </a:p>
          <a:p>
            <a:endParaRPr lang="en-US" dirty="0"/>
          </a:p>
          <a:p>
            <a:r>
              <a:rPr lang="en-US" dirty="0" smtClean="0"/>
              <a:t>Source term appears</a:t>
            </a:r>
            <a:br>
              <a:rPr lang="en-US" dirty="0" smtClean="0"/>
            </a:br>
            <a:r>
              <a:rPr lang="en-US" dirty="0" smtClean="0"/>
              <a:t>to be </a:t>
            </a:r>
            <a:r>
              <a:rPr lang="en-US" i="1" dirty="0" smtClean="0"/>
              <a:t>particulat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048835" y="4403993"/>
            <a:ext cx="409516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tx1"/>
                </a:solidFill>
                <a:latin typeface="+mj-lt"/>
              </a:rPr>
              <a:t>Short, M. </a:t>
            </a:r>
            <a:r>
              <a:rPr lang="en-US" sz="1050" b="1" dirty="0" err="1">
                <a:solidFill>
                  <a:schemeClr val="tx1"/>
                </a:solidFill>
                <a:latin typeface="+mj-lt"/>
              </a:rPr>
              <a:t>P</a:t>
            </a:r>
            <a:r>
              <a:rPr lang="en-US" sz="1050" b="1" dirty="0" err="1" smtClean="0">
                <a:solidFill>
                  <a:schemeClr val="tx1"/>
                </a:solidFill>
                <a:latin typeface="+mj-lt"/>
              </a:rPr>
              <a:t>.,et</a:t>
            </a:r>
            <a:r>
              <a:rPr lang="en-US" sz="1050" b="1" dirty="0" smtClean="0">
                <a:solidFill>
                  <a:schemeClr val="tx1"/>
                </a:solidFill>
                <a:latin typeface="+mj-lt"/>
              </a:rPr>
              <a:t> al. </a:t>
            </a:r>
            <a:r>
              <a:rPr lang="en-US" sz="1050" b="1" i="1" dirty="0" smtClean="0">
                <a:solidFill>
                  <a:schemeClr val="tx1"/>
                </a:solidFill>
                <a:latin typeface="+mj-lt"/>
              </a:rPr>
              <a:t>MRS-B</a:t>
            </a:r>
            <a:r>
              <a:rPr lang="en-US" sz="1050" b="1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050" b="1" dirty="0">
                <a:solidFill>
                  <a:schemeClr val="tx1"/>
                </a:solidFill>
                <a:latin typeface="+mj-lt"/>
              </a:rPr>
              <a:t>39(1):71-77 (2014</a:t>
            </a:r>
            <a:r>
              <a:rPr lang="en-US" sz="1050" b="1" dirty="0" smtClean="0">
                <a:solidFill>
                  <a:schemeClr val="tx1"/>
                </a:solidFill>
                <a:latin typeface="+mj-lt"/>
              </a:rPr>
              <a:t>)</a:t>
            </a:r>
            <a:endParaRPr lang="en-US" sz="1050" b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49267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bservations Become Justified Assumption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1309213"/>
            <a:ext cx="3041390" cy="24688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93790" y="1298455"/>
            <a:ext cx="2927551" cy="246888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1341" y="1309213"/>
            <a:ext cx="3007924" cy="25146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52400" y="3767335"/>
            <a:ext cx="3041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Alloy 600 corrosion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30810" y="3757251"/>
            <a:ext cx="3041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Alloy 690 corrosion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102610" y="3757251"/>
            <a:ext cx="3041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Alloy 600 oxide film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14256" y="4138251"/>
            <a:ext cx="87773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1"/>
                </a:solidFill>
                <a:latin typeface="+mn-lt"/>
              </a:rPr>
              <a:t>P. </a:t>
            </a:r>
            <a:r>
              <a:rPr lang="en-US" sz="1200" b="1" dirty="0" err="1" smtClean="0">
                <a:solidFill>
                  <a:schemeClr val="tx1"/>
                </a:solidFill>
                <a:latin typeface="+mn-lt"/>
              </a:rPr>
              <a:t>Combrade</a:t>
            </a:r>
            <a:r>
              <a:rPr lang="en-US" sz="1200" b="1" dirty="0" smtClean="0">
                <a:solidFill>
                  <a:schemeClr val="tx1"/>
                </a:solidFill>
                <a:latin typeface="+mn-lt"/>
              </a:rPr>
              <a:t> et al. “Oxidation Of Ni Base Alloys In PWR Water: Oxide Layers And Associated Damage To The Base Metal.” </a:t>
            </a:r>
            <a:r>
              <a:rPr lang="en-US" sz="1200" b="1" dirty="0">
                <a:solidFill>
                  <a:schemeClr val="tx1"/>
                </a:solidFill>
                <a:latin typeface="+mn-lt"/>
              </a:rPr>
              <a:t>Proceedings of the 12th International Conference </a:t>
            </a:r>
            <a:r>
              <a:rPr lang="en-US" sz="1200" b="1" dirty="0" smtClean="0">
                <a:solidFill>
                  <a:schemeClr val="tx1"/>
                </a:solidFill>
                <a:latin typeface="+mn-lt"/>
              </a:rPr>
              <a:t>on Environmental </a:t>
            </a:r>
            <a:r>
              <a:rPr lang="en-US" sz="1200" b="1" dirty="0">
                <a:solidFill>
                  <a:schemeClr val="tx1"/>
                </a:solidFill>
                <a:latin typeface="+mn-lt"/>
              </a:rPr>
              <a:t>Degradation of Materials in Nuclear Power System – Water Reactors </a:t>
            </a:r>
            <a:r>
              <a:rPr lang="en-US" sz="1200" b="1" dirty="0" smtClean="0">
                <a:solidFill>
                  <a:schemeClr val="tx1"/>
                </a:solidFill>
                <a:latin typeface="+mn-lt"/>
              </a:rPr>
              <a:t>– </a:t>
            </a:r>
            <a:r>
              <a:rPr lang="en-US" sz="1200" i="1" dirty="0" smtClean="0">
                <a:solidFill>
                  <a:schemeClr val="tx1"/>
                </a:solidFill>
                <a:latin typeface="+mn-lt"/>
              </a:rPr>
              <a:t>Edited </a:t>
            </a:r>
            <a:r>
              <a:rPr lang="en-US" sz="1200" i="1" dirty="0">
                <a:solidFill>
                  <a:schemeClr val="tx1"/>
                </a:solidFill>
                <a:latin typeface="+mn-lt"/>
              </a:rPr>
              <a:t>by T.R. Allen, P.J. King, and L. Nelson </a:t>
            </a:r>
            <a:r>
              <a:rPr lang="en-US" sz="1200" b="1" i="1" dirty="0">
                <a:solidFill>
                  <a:schemeClr val="tx1"/>
                </a:solidFill>
                <a:latin typeface="+mn-lt"/>
              </a:rPr>
              <a:t>TMS (The Minerals, Metals &amp; Materials Society), 2005</a:t>
            </a:r>
            <a:endParaRPr lang="en-US" sz="1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7200" y="861738"/>
            <a:ext cx="8229600" cy="3732885"/>
          </a:xfrm>
        </p:spPr>
        <p:txBody>
          <a:bodyPr/>
          <a:lstStyle/>
          <a:p>
            <a:r>
              <a:rPr lang="en-US" dirty="0" smtClean="0"/>
              <a:t>All reactor internals create NiFe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4</a:t>
            </a:r>
            <a:r>
              <a:rPr lang="en-US" dirty="0" smtClean="0"/>
              <a:t> outer oxide crysta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925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ssumption: NiFe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4</a:t>
            </a:r>
            <a:r>
              <a:rPr lang="en-US" dirty="0" smtClean="0"/>
              <a:t> Grows from </a:t>
            </a:r>
            <a:r>
              <a:rPr lang="en-US" i="1" dirty="0" smtClean="0"/>
              <a:t>Coolant</a:t>
            </a:r>
            <a:endParaRPr lang="en-US" i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ata by P. </a:t>
            </a:r>
            <a:r>
              <a:rPr lang="en-US" smtClean="0"/>
              <a:t>Scott </a:t>
            </a:r>
            <a:r>
              <a:rPr lang="en-US" dirty="0" smtClean="0"/>
              <a:t>et al. show NiFe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4</a:t>
            </a:r>
            <a:r>
              <a:rPr lang="en-US" dirty="0" smtClean="0"/>
              <a:t> growth from solu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999" y="1278939"/>
            <a:ext cx="8470002" cy="32004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0" y="4510992"/>
            <a:ext cx="915907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dirty="0">
                <a:latin typeface="Times New Roman" panose="02020603050405020304" pitchFamily="18" charset="0"/>
              </a:rPr>
              <a:t>P. Scott, O. </a:t>
            </a:r>
            <a:r>
              <a:rPr lang="en-US" sz="1100" b="1" dirty="0" err="1">
                <a:latin typeface="Times New Roman" panose="02020603050405020304" pitchFamily="18" charset="0"/>
              </a:rPr>
              <a:t>Calonne</a:t>
            </a:r>
            <a:r>
              <a:rPr lang="en-US" sz="1100" b="1" dirty="0">
                <a:latin typeface="Times New Roman" panose="02020603050405020304" pitchFamily="18" charset="0"/>
              </a:rPr>
              <a:t>, and P. </a:t>
            </a:r>
            <a:r>
              <a:rPr lang="en-US" sz="1100" b="1" dirty="0" err="1">
                <a:latin typeface="Times New Roman" panose="02020603050405020304" pitchFamily="18" charset="0"/>
              </a:rPr>
              <a:t>Combrade</a:t>
            </a:r>
            <a:r>
              <a:rPr lang="en-US" sz="1100" b="1" dirty="0">
                <a:latin typeface="Times New Roman" panose="02020603050405020304" pitchFamily="18" charset="0"/>
              </a:rPr>
              <a:t>, “Study of Surface Remediation to Delay </a:t>
            </a:r>
            <a:r>
              <a:rPr lang="en-US" sz="1100" b="1" dirty="0" smtClean="0">
                <a:latin typeface="Times New Roman" panose="02020603050405020304" pitchFamily="18" charset="0"/>
              </a:rPr>
              <a:t>PWSCC Initiation </a:t>
            </a:r>
            <a:r>
              <a:rPr lang="en-US" sz="1100" b="1" dirty="0">
                <a:latin typeface="Times New Roman" panose="02020603050405020304" pitchFamily="18" charset="0"/>
              </a:rPr>
              <a:t>in Alloy 600,” Unpublished EPRI project, 2007.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2601724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lackTie">
      <a:majorFont>
        <a:latin typeface="Garamond"/>
        <a:ea typeface=""/>
        <a:cs typeface=""/>
        <a:font script="Grek" typeface="Constantia"/>
        <a:font script="Cyrl" typeface="Constantia"/>
        <a:font script="Jpan" typeface="ＭＳ Ｐ明朝"/>
        <a:font script="Hang" typeface="궁서"/>
        <a:font script="Hans" typeface="仿宋"/>
        <a:font script="Hant" typeface="標楷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aramond"/>
        <a:ea typeface=""/>
        <a:cs typeface=""/>
        <a:font script="Grek" typeface="Constantia"/>
        <a:font script="Cyrl" typeface="Constantia"/>
        <a:font script="Jpan" typeface="ＭＳ Ｐ明朝"/>
        <a:font script="Hang" typeface="궁서"/>
        <a:font script="Hans" typeface="仿宋"/>
        <a:font script="Hant" typeface="標楷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24981</TotalTime>
  <Words>2415</Words>
  <Application>Microsoft Office PowerPoint</Application>
  <PresentationFormat>On-screen Show (16:9)</PresentationFormat>
  <Paragraphs>556</Paragraphs>
  <Slides>39</Slides>
  <Notes>39</Notes>
  <HiddenSlides>0</HiddenSlides>
  <MMClips>4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9" baseType="lpstr">
      <vt:lpstr>ＭＳ Ｐゴシック</vt:lpstr>
      <vt:lpstr>SimSun</vt:lpstr>
      <vt:lpstr>Albertus Extra Bold</vt:lpstr>
      <vt:lpstr>Arial</vt:lpstr>
      <vt:lpstr>Calibri</vt:lpstr>
      <vt:lpstr>Cambria Math</vt:lpstr>
      <vt:lpstr>Garamond</vt:lpstr>
      <vt:lpstr>Times</vt:lpstr>
      <vt:lpstr>Times New Roman</vt:lpstr>
      <vt:lpstr>Office Theme</vt:lpstr>
      <vt:lpstr>Understanding and Controlling the Crud Source Term in PWRs</vt:lpstr>
      <vt:lpstr>Goal: The Crud Source Term in PWRs</vt:lpstr>
      <vt:lpstr>What Is Crud? Why Does It Matter?</vt:lpstr>
      <vt:lpstr>First: An Overall System View</vt:lpstr>
      <vt:lpstr>Engineering Scale: What Is Missing?</vt:lpstr>
      <vt:lpstr>Delineating Scales and Interscale Communication</vt:lpstr>
      <vt:lpstr>Observations of Crud from PWRs</vt:lpstr>
      <vt:lpstr>Observations Become Justified Assumptions</vt:lpstr>
      <vt:lpstr>Assumption: NiFe2O4 Grows from Coolant</vt:lpstr>
      <vt:lpstr>Assumption: Only the Innermost Oxide is Protective</vt:lpstr>
      <vt:lpstr>Assumption: Water Ni/Fe Content Doesn’t Matter</vt:lpstr>
      <vt:lpstr>Key Assumptions: What (NOT) To Model</vt:lpstr>
      <vt:lpstr>Computing Unknown Diffusivities</vt:lpstr>
      <vt:lpstr>Steps in Our Calculations</vt:lpstr>
      <vt:lpstr>Computing Unknown Diffusivities: Cr2O3</vt:lpstr>
      <vt:lpstr>Computing Unknown Diffusivities: O in Cr2O3</vt:lpstr>
      <vt:lpstr>Watching Oxygen Diffusion Mechanisms</vt:lpstr>
      <vt:lpstr>Watching Oxygen Diffusion Mechanisms</vt:lpstr>
      <vt:lpstr>Unknown Diffusivities: Cr in Cr2O3</vt:lpstr>
      <vt:lpstr>Watching Chromium Diffusion Mechanisms</vt:lpstr>
      <vt:lpstr>Full Cr2O3 Dataset for Oxygen</vt:lpstr>
      <vt:lpstr>Full Cr2O3 Dataset for Chromium</vt:lpstr>
      <vt:lpstr>Comparison to Other Systems</vt:lpstr>
      <vt:lpstr>Diffusion Coefficients in Cr2O3</vt:lpstr>
      <vt:lpstr>Effects of Dopant Cations</vt:lpstr>
      <vt:lpstr>Comparison to Recent Work</vt:lpstr>
      <vt:lpstr>Check Calculations with Experimental Data</vt:lpstr>
      <vt:lpstr>Justifying Bulk Diffusion</vt:lpstr>
      <vt:lpstr>The Spinel Diffusion Data, for Completeness</vt:lpstr>
      <vt:lpstr>Feed Microscale into Engineering Scale</vt:lpstr>
      <vt:lpstr>Microscale Model Assumptions: Oxide Thickness</vt:lpstr>
      <vt:lpstr>Putting it All Together</vt:lpstr>
      <vt:lpstr>WEC 4-Loop PWR, A600, Cr2O3 Assumed</vt:lpstr>
      <vt:lpstr>WEC 4-Loop PWR, A600, Spinel Assumed</vt:lpstr>
      <vt:lpstr>WEC 4-Loop PWR, A690, Spinel Assumed</vt:lpstr>
      <vt:lpstr>What Can Integrated Predictions Tell Us?</vt:lpstr>
      <vt:lpstr>Major Data Gaps – Near Term Future Work</vt:lpstr>
      <vt:lpstr>Major Data Gaps – Near Term Future Work</vt:lpstr>
      <vt:lpstr>Thanks to Our Sponsor, Acknowledgments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dy  Dennett</dc:creator>
  <cp:lastModifiedBy>Michael Philip Short</cp:lastModifiedBy>
  <cp:revision>590</cp:revision>
  <cp:lastPrinted>2015-05-16T20:06:16Z</cp:lastPrinted>
  <dcterms:created xsi:type="dcterms:W3CDTF">2015-04-23T15:01:22Z</dcterms:created>
  <dcterms:modified xsi:type="dcterms:W3CDTF">2016-10-01T21:13:53Z</dcterms:modified>
</cp:coreProperties>
</file>